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rts/chart1.xml" ContentType="application/vnd.openxmlformats-officedocument.drawingml.chart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309"/>
  </p:notesMasterIdLst>
  <p:sldIdLst>
    <p:sldId id="2147470122" r:id="rId4"/>
    <p:sldId id="2147470119" r:id="rId5"/>
    <p:sldId id="2147470123" r:id="rId6"/>
    <p:sldId id="2147470124" r:id="rId7"/>
    <p:sldId id="2147470125" r:id="rId8"/>
    <p:sldId id="2147470126" r:id="rId9"/>
    <p:sldId id="2147470127" r:id="rId10"/>
    <p:sldId id="2147470128" r:id="rId11"/>
    <p:sldId id="2147470129" r:id="rId12"/>
    <p:sldId id="2147470130" r:id="rId13"/>
    <p:sldId id="2147470131" r:id="rId14"/>
    <p:sldId id="2147470132" r:id="rId15"/>
    <p:sldId id="2147470133" r:id="rId16"/>
    <p:sldId id="2147470134" r:id="rId17"/>
    <p:sldId id="2147470135" r:id="rId18"/>
    <p:sldId id="2147470136" r:id="rId19"/>
    <p:sldId id="2147470137" r:id="rId20"/>
    <p:sldId id="2147470138" r:id="rId21"/>
    <p:sldId id="2147470139" r:id="rId22"/>
    <p:sldId id="2147470140" r:id="rId23"/>
    <p:sldId id="2147470141" r:id="rId24"/>
    <p:sldId id="2147470142" r:id="rId25"/>
    <p:sldId id="2147470143" r:id="rId26"/>
    <p:sldId id="2147470144" r:id="rId27"/>
    <p:sldId id="2147470145" r:id="rId28"/>
    <p:sldId id="2147470146" r:id="rId29"/>
    <p:sldId id="2147470147" r:id="rId30"/>
    <p:sldId id="2147470148" r:id="rId31"/>
    <p:sldId id="2147470149" r:id="rId32"/>
    <p:sldId id="2147470150" r:id="rId33"/>
    <p:sldId id="2147470151" r:id="rId34"/>
    <p:sldId id="2147470152" r:id="rId35"/>
    <p:sldId id="2147470153" r:id="rId36"/>
    <p:sldId id="2147470154" r:id="rId37"/>
    <p:sldId id="2147470155" r:id="rId38"/>
    <p:sldId id="2147470156" r:id="rId39"/>
    <p:sldId id="2147470157" r:id="rId40"/>
    <p:sldId id="2147470158" r:id="rId41"/>
    <p:sldId id="2147470159" r:id="rId42"/>
    <p:sldId id="2147470160" r:id="rId43"/>
    <p:sldId id="2147470161" r:id="rId44"/>
    <p:sldId id="2147470162" r:id="rId45"/>
    <p:sldId id="2147470163" r:id="rId46"/>
    <p:sldId id="2147470164" r:id="rId47"/>
    <p:sldId id="2147470165" r:id="rId48"/>
    <p:sldId id="2147470166" r:id="rId49"/>
    <p:sldId id="2147470167" r:id="rId50"/>
    <p:sldId id="2147470168" r:id="rId51"/>
    <p:sldId id="2147470169" r:id="rId52"/>
    <p:sldId id="2147470170" r:id="rId53"/>
    <p:sldId id="2147470171" r:id="rId54"/>
    <p:sldId id="2147470172" r:id="rId55"/>
    <p:sldId id="2147470173" r:id="rId56"/>
    <p:sldId id="2147470174" r:id="rId57"/>
    <p:sldId id="2147470175" r:id="rId58"/>
    <p:sldId id="2147470176" r:id="rId59"/>
    <p:sldId id="2147470177" r:id="rId60"/>
    <p:sldId id="2147470178" r:id="rId61"/>
    <p:sldId id="2147470179" r:id="rId62"/>
    <p:sldId id="2147470180" r:id="rId63"/>
    <p:sldId id="2147470181" r:id="rId64"/>
    <p:sldId id="2147470182" r:id="rId65"/>
    <p:sldId id="2147470183" r:id="rId66"/>
    <p:sldId id="2147470184" r:id="rId67"/>
    <p:sldId id="2147470185" r:id="rId68"/>
    <p:sldId id="2147470186" r:id="rId69"/>
    <p:sldId id="2147470187" r:id="rId70"/>
    <p:sldId id="2147470188" r:id="rId71"/>
    <p:sldId id="2147470189" r:id="rId72"/>
    <p:sldId id="2147470190" r:id="rId73"/>
    <p:sldId id="2147470191" r:id="rId74"/>
    <p:sldId id="2147470192" r:id="rId75"/>
    <p:sldId id="2147470193" r:id="rId76"/>
    <p:sldId id="2147470194" r:id="rId77"/>
    <p:sldId id="2147470195" r:id="rId78"/>
    <p:sldId id="2147470196" r:id="rId79"/>
    <p:sldId id="2147470197" r:id="rId80"/>
    <p:sldId id="2147470198" r:id="rId81"/>
    <p:sldId id="2147470199" r:id="rId82"/>
    <p:sldId id="2147470200" r:id="rId83"/>
    <p:sldId id="2147470201" r:id="rId84"/>
    <p:sldId id="2147470202" r:id="rId85"/>
    <p:sldId id="2147470203" r:id="rId86"/>
    <p:sldId id="2147470204" r:id="rId87"/>
    <p:sldId id="2147470205" r:id="rId88"/>
    <p:sldId id="2147470206" r:id="rId89"/>
    <p:sldId id="2147470207" r:id="rId90"/>
    <p:sldId id="2147470208" r:id="rId91"/>
  </p:sldIdLst>
  <p:sldSz cx="12192000" cy="6858000"/>
  <p:notesSz cx="6797675" cy="9926638"/>
  <p:custDataLst>
    <p:tags r:id="rId310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2" d="100"/>
          <a:sy n="92" d="100"/>
        </p:scale>
        <p:origin x="8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50" Type="http://schemas.openxmlformats.org/officeDocument/2006/relationships/slide" Target="slides/slide47.xml"/><Relationship Id="rId51" Type="http://schemas.openxmlformats.org/officeDocument/2006/relationships/slide" Target="slides/slide48.xml"/><Relationship Id="rId52" Type="http://schemas.openxmlformats.org/officeDocument/2006/relationships/slide" Target="slides/slide49.xml"/><Relationship Id="rId53" Type="http://schemas.openxmlformats.org/officeDocument/2006/relationships/slide" Target="slides/slide50.xml"/><Relationship Id="rId54" Type="http://schemas.openxmlformats.org/officeDocument/2006/relationships/slide" Target="slides/slide51.xml"/><Relationship Id="rId55" Type="http://schemas.openxmlformats.org/officeDocument/2006/relationships/slide" Target="slides/slide52.xml"/><Relationship Id="rId56" Type="http://schemas.openxmlformats.org/officeDocument/2006/relationships/slide" Target="slides/slide53.xml"/><Relationship Id="rId57" Type="http://schemas.openxmlformats.org/officeDocument/2006/relationships/slide" Target="slides/slide54.xml"/><Relationship Id="rId58" Type="http://schemas.openxmlformats.org/officeDocument/2006/relationships/slide" Target="slides/slide55.xml"/><Relationship Id="rId59" Type="http://schemas.openxmlformats.org/officeDocument/2006/relationships/slide" Target="slides/slide56.xml"/><Relationship Id="rId60" Type="http://schemas.openxmlformats.org/officeDocument/2006/relationships/slide" Target="slides/slide57.xml"/><Relationship Id="rId61" Type="http://schemas.openxmlformats.org/officeDocument/2006/relationships/slide" Target="slides/slide58.xml"/><Relationship Id="rId62" Type="http://schemas.openxmlformats.org/officeDocument/2006/relationships/slide" Target="slides/slide59.xml"/><Relationship Id="rId63" Type="http://schemas.openxmlformats.org/officeDocument/2006/relationships/slide" Target="slides/slide60.xml"/><Relationship Id="rId64" Type="http://schemas.openxmlformats.org/officeDocument/2006/relationships/slide" Target="slides/slide61.xml"/><Relationship Id="rId65" Type="http://schemas.openxmlformats.org/officeDocument/2006/relationships/slide" Target="slides/slide62.xml"/><Relationship Id="rId66" Type="http://schemas.openxmlformats.org/officeDocument/2006/relationships/slide" Target="slides/slide63.xml"/><Relationship Id="rId67" Type="http://schemas.openxmlformats.org/officeDocument/2006/relationships/slide" Target="slides/slide64.xml"/><Relationship Id="rId68" Type="http://schemas.openxmlformats.org/officeDocument/2006/relationships/slide" Target="slides/slide65.xml"/><Relationship Id="rId69" Type="http://schemas.openxmlformats.org/officeDocument/2006/relationships/slide" Target="slides/slide66.xml"/><Relationship Id="rId70" Type="http://schemas.openxmlformats.org/officeDocument/2006/relationships/slide" Target="slides/slide67.xml"/><Relationship Id="rId71" Type="http://schemas.openxmlformats.org/officeDocument/2006/relationships/slide" Target="slides/slide68.xml"/><Relationship Id="rId72" Type="http://schemas.openxmlformats.org/officeDocument/2006/relationships/slide" Target="slides/slide69.xml"/><Relationship Id="rId73" Type="http://schemas.openxmlformats.org/officeDocument/2006/relationships/slide" Target="slides/slide70.xml"/><Relationship Id="rId74" Type="http://schemas.openxmlformats.org/officeDocument/2006/relationships/slide" Target="slides/slide71.xml"/><Relationship Id="rId75" Type="http://schemas.openxmlformats.org/officeDocument/2006/relationships/slide" Target="slides/slide72.xml"/><Relationship Id="rId76" Type="http://schemas.openxmlformats.org/officeDocument/2006/relationships/slide" Target="slides/slide73.xml"/><Relationship Id="rId77" Type="http://schemas.openxmlformats.org/officeDocument/2006/relationships/slide" Target="slides/slide74.xml"/><Relationship Id="rId78" Type="http://schemas.openxmlformats.org/officeDocument/2006/relationships/slide" Target="slides/slide75.xml"/><Relationship Id="rId79" Type="http://schemas.openxmlformats.org/officeDocument/2006/relationships/slide" Target="slides/slide76.xml"/><Relationship Id="rId80" Type="http://schemas.openxmlformats.org/officeDocument/2006/relationships/slide" Target="slides/slide77.xml"/><Relationship Id="rId81" Type="http://schemas.openxmlformats.org/officeDocument/2006/relationships/slide" Target="slides/slide78.xml"/><Relationship Id="rId82" Type="http://schemas.openxmlformats.org/officeDocument/2006/relationships/slide" Target="slides/slide79.xml"/><Relationship Id="rId83" Type="http://schemas.openxmlformats.org/officeDocument/2006/relationships/slide" Target="slides/slide80.xml"/><Relationship Id="rId84" Type="http://schemas.openxmlformats.org/officeDocument/2006/relationships/slide" Target="slides/slide81.xml"/><Relationship Id="rId85" Type="http://schemas.openxmlformats.org/officeDocument/2006/relationships/slide" Target="slides/slide82.xml"/><Relationship Id="rId86" Type="http://schemas.openxmlformats.org/officeDocument/2006/relationships/slide" Target="slides/slide83.xml"/><Relationship Id="rId87" Type="http://schemas.openxmlformats.org/officeDocument/2006/relationships/slide" Target="slides/slide84.xml"/><Relationship Id="rId88" Type="http://schemas.openxmlformats.org/officeDocument/2006/relationships/slide" Target="slides/slide85.xml"/><Relationship Id="rId89" Type="http://schemas.openxmlformats.org/officeDocument/2006/relationships/slide" Target="slides/slide86.xml"/><Relationship Id="rId90" Type="http://schemas.openxmlformats.org/officeDocument/2006/relationships/slide" Target="slides/slide87.xml"/><Relationship Id="rId91" Type="http://schemas.openxmlformats.org/officeDocument/2006/relationships/slide" Target="slides/slide88.xml"/><Relationship Id="rId92" Type="http://schemas.openxmlformats.org/officeDocument/2006/relationships/slide" Target="slides/slide89.xml"/><Relationship Id="rId93" Type="http://schemas.openxmlformats.org/officeDocument/2006/relationships/slide" Target="slides/slide90.xml"/><Relationship Id="rId94" Type="http://schemas.openxmlformats.org/officeDocument/2006/relationships/slide" Target="slides/slide91.xml"/><Relationship Id="rId95" Type="http://schemas.openxmlformats.org/officeDocument/2006/relationships/slide" Target="slides/slide92.xml"/><Relationship Id="rId96" Type="http://schemas.openxmlformats.org/officeDocument/2006/relationships/slide" Target="slides/slide93.xml"/><Relationship Id="rId97" Type="http://schemas.openxmlformats.org/officeDocument/2006/relationships/slide" Target="slides/slide94.xml"/><Relationship Id="rId98" Type="http://schemas.openxmlformats.org/officeDocument/2006/relationships/slide" Target="slides/slide95.xml"/><Relationship Id="rId99" Type="http://schemas.openxmlformats.org/officeDocument/2006/relationships/slide" Target="slides/slide96.xml"/><Relationship Id="rId100" Type="http://schemas.openxmlformats.org/officeDocument/2006/relationships/slide" Target="slides/slide97.xml"/><Relationship Id="rId101" Type="http://schemas.openxmlformats.org/officeDocument/2006/relationships/slide" Target="slides/slide98.xml"/><Relationship Id="rId102" Type="http://schemas.openxmlformats.org/officeDocument/2006/relationships/slide" Target="slides/slide99.xml"/><Relationship Id="rId103" Type="http://schemas.openxmlformats.org/officeDocument/2006/relationships/slide" Target="slides/slide100.xml"/><Relationship Id="rId104" Type="http://schemas.openxmlformats.org/officeDocument/2006/relationships/slide" Target="slides/slide101.xml"/><Relationship Id="rId105" Type="http://schemas.openxmlformats.org/officeDocument/2006/relationships/slide" Target="slides/slide102.xml"/><Relationship Id="rId106" Type="http://schemas.openxmlformats.org/officeDocument/2006/relationships/slide" Target="slides/slide103.xml"/><Relationship Id="rId107" Type="http://schemas.openxmlformats.org/officeDocument/2006/relationships/slide" Target="slides/slide104.xml"/><Relationship Id="rId108" Type="http://schemas.openxmlformats.org/officeDocument/2006/relationships/slide" Target="slides/slide105.xml"/><Relationship Id="rId109" Type="http://schemas.openxmlformats.org/officeDocument/2006/relationships/slide" Target="slides/slide106.xml"/><Relationship Id="rId110" Type="http://schemas.openxmlformats.org/officeDocument/2006/relationships/slide" Target="slides/slide107.xml"/><Relationship Id="rId111" Type="http://schemas.openxmlformats.org/officeDocument/2006/relationships/slide" Target="slides/slide108.xml"/><Relationship Id="rId112" Type="http://schemas.openxmlformats.org/officeDocument/2006/relationships/slide" Target="slides/slide109.xml"/><Relationship Id="rId113" Type="http://schemas.openxmlformats.org/officeDocument/2006/relationships/slide" Target="slides/slide110.xml"/><Relationship Id="rId114" Type="http://schemas.openxmlformats.org/officeDocument/2006/relationships/slide" Target="slides/slide111.xml"/><Relationship Id="rId115" Type="http://schemas.openxmlformats.org/officeDocument/2006/relationships/slide" Target="slides/slide112.xml"/><Relationship Id="rId116" Type="http://schemas.openxmlformats.org/officeDocument/2006/relationships/slide" Target="slides/slide113.xml"/><Relationship Id="rId117" Type="http://schemas.openxmlformats.org/officeDocument/2006/relationships/slide" Target="slides/slide114.xml"/><Relationship Id="rId118" Type="http://schemas.openxmlformats.org/officeDocument/2006/relationships/slide" Target="slides/slide115.xml"/><Relationship Id="rId119" Type="http://schemas.openxmlformats.org/officeDocument/2006/relationships/slide" Target="slides/slide116.xml"/><Relationship Id="rId120" Type="http://schemas.openxmlformats.org/officeDocument/2006/relationships/slide" Target="slides/slide117.xml"/><Relationship Id="rId121" Type="http://schemas.openxmlformats.org/officeDocument/2006/relationships/slide" Target="slides/slide118.xml"/><Relationship Id="rId122" Type="http://schemas.openxmlformats.org/officeDocument/2006/relationships/slide" Target="slides/slide119.xml"/><Relationship Id="rId123" Type="http://schemas.openxmlformats.org/officeDocument/2006/relationships/slide" Target="slides/slide120.xml"/><Relationship Id="rId124" Type="http://schemas.openxmlformats.org/officeDocument/2006/relationships/slide" Target="slides/slide121.xml"/><Relationship Id="rId125" Type="http://schemas.openxmlformats.org/officeDocument/2006/relationships/slide" Target="slides/slide122.xml"/><Relationship Id="rId126" Type="http://schemas.openxmlformats.org/officeDocument/2006/relationships/slide" Target="slides/slide123.xml"/><Relationship Id="rId127" Type="http://schemas.openxmlformats.org/officeDocument/2006/relationships/slide" Target="slides/slide124.xml"/><Relationship Id="rId128" Type="http://schemas.openxmlformats.org/officeDocument/2006/relationships/slide" Target="slides/slide125.xml"/><Relationship Id="rId129" Type="http://schemas.openxmlformats.org/officeDocument/2006/relationships/slide" Target="slides/slide126.xml"/><Relationship Id="rId130" Type="http://schemas.openxmlformats.org/officeDocument/2006/relationships/slide" Target="slides/slide127.xml"/><Relationship Id="rId131" Type="http://schemas.openxmlformats.org/officeDocument/2006/relationships/slide" Target="slides/slide128.xml"/><Relationship Id="rId132" Type="http://schemas.openxmlformats.org/officeDocument/2006/relationships/slide" Target="slides/slide129.xml"/><Relationship Id="rId133" Type="http://schemas.openxmlformats.org/officeDocument/2006/relationships/slide" Target="slides/slide130.xml"/><Relationship Id="rId134" Type="http://schemas.openxmlformats.org/officeDocument/2006/relationships/slide" Target="slides/slide131.xml"/><Relationship Id="rId135" Type="http://schemas.openxmlformats.org/officeDocument/2006/relationships/slide" Target="slides/slide132.xml"/><Relationship Id="rId136" Type="http://schemas.openxmlformats.org/officeDocument/2006/relationships/slide" Target="slides/slide133.xml"/><Relationship Id="rId137" Type="http://schemas.openxmlformats.org/officeDocument/2006/relationships/slide" Target="slides/slide134.xml"/><Relationship Id="rId138" Type="http://schemas.openxmlformats.org/officeDocument/2006/relationships/slide" Target="slides/slide135.xml"/><Relationship Id="rId139" Type="http://schemas.openxmlformats.org/officeDocument/2006/relationships/slide" Target="slides/slide136.xml"/><Relationship Id="rId140" Type="http://schemas.openxmlformats.org/officeDocument/2006/relationships/slide" Target="slides/slide137.xml"/><Relationship Id="rId141" Type="http://schemas.openxmlformats.org/officeDocument/2006/relationships/slide" Target="slides/slide138.xml"/><Relationship Id="rId142" Type="http://schemas.openxmlformats.org/officeDocument/2006/relationships/slide" Target="slides/slide139.xml"/><Relationship Id="rId143" Type="http://schemas.openxmlformats.org/officeDocument/2006/relationships/slide" Target="slides/slide140.xml"/><Relationship Id="rId144" Type="http://schemas.openxmlformats.org/officeDocument/2006/relationships/slide" Target="slides/slide141.xml"/><Relationship Id="rId145" Type="http://schemas.openxmlformats.org/officeDocument/2006/relationships/slide" Target="slides/slide142.xml"/><Relationship Id="rId146" Type="http://schemas.openxmlformats.org/officeDocument/2006/relationships/slide" Target="slides/slide143.xml"/><Relationship Id="rId147" Type="http://schemas.openxmlformats.org/officeDocument/2006/relationships/slide" Target="slides/slide144.xml"/><Relationship Id="rId148" Type="http://schemas.openxmlformats.org/officeDocument/2006/relationships/slide" Target="slides/slide145.xml"/><Relationship Id="rId149" Type="http://schemas.openxmlformats.org/officeDocument/2006/relationships/slide" Target="slides/slide146.xml"/><Relationship Id="rId150" Type="http://schemas.openxmlformats.org/officeDocument/2006/relationships/slide" Target="slides/slide147.xml"/><Relationship Id="rId151" Type="http://schemas.openxmlformats.org/officeDocument/2006/relationships/slide" Target="slides/slide148.xml"/><Relationship Id="rId152" Type="http://schemas.openxmlformats.org/officeDocument/2006/relationships/slide" Target="slides/slide149.xml"/><Relationship Id="rId153" Type="http://schemas.openxmlformats.org/officeDocument/2006/relationships/slide" Target="slides/slide150.xml"/><Relationship Id="rId154" Type="http://schemas.openxmlformats.org/officeDocument/2006/relationships/slide" Target="slides/slide151.xml"/><Relationship Id="rId155" Type="http://schemas.openxmlformats.org/officeDocument/2006/relationships/slide" Target="slides/slide152.xml"/><Relationship Id="rId156" Type="http://schemas.openxmlformats.org/officeDocument/2006/relationships/slide" Target="slides/slide153.xml"/><Relationship Id="rId157" Type="http://schemas.openxmlformats.org/officeDocument/2006/relationships/slide" Target="slides/slide154.xml"/><Relationship Id="rId158" Type="http://schemas.openxmlformats.org/officeDocument/2006/relationships/slide" Target="slides/slide155.xml"/><Relationship Id="rId159" Type="http://schemas.openxmlformats.org/officeDocument/2006/relationships/slide" Target="slides/slide156.xml"/><Relationship Id="rId160" Type="http://schemas.openxmlformats.org/officeDocument/2006/relationships/slide" Target="slides/slide157.xml"/><Relationship Id="rId161" Type="http://schemas.openxmlformats.org/officeDocument/2006/relationships/slide" Target="slides/slide158.xml"/><Relationship Id="rId162" Type="http://schemas.openxmlformats.org/officeDocument/2006/relationships/slide" Target="slides/slide159.xml"/><Relationship Id="rId163" Type="http://schemas.openxmlformats.org/officeDocument/2006/relationships/slide" Target="slides/slide160.xml"/><Relationship Id="rId164" Type="http://schemas.openxmlformats.org/officeDocument/2006/relationships/slide" Target="slides/slide161.xml"/><Relationship Id="rId165" Type="http://schemas.openxmlformats.org/officeDocument/2006/relationships/slide" Target="slides/slide162.xml"/><Relationship Id="rId166" Type="http://schemas.openxmlformats.org/officeDocument/2006/relationships/slide" Target="slides/slide163.xml"/><Relationship Id="rId167" Type="http://schemas.openxmlformats.org/officeDocument/2006/relationships/slide" Target="slides/slide164.xml"/><Relationship Id="rId168" Type="http://schemas.openxmlformats.org/officeDocument/2006/relationships/slide" Target="slides/slide165.xml"/><Relationship Id="rId169" Type="http://schemas.openxmlformats.org/officeDocument/2006/relationships/slide" Target="slides/slide166.xml"/><Relationship Id="rId170" Type="http://schemas.openxmlformats.org/officeDocument/2006/relationships/slide" Target="slides/slide167.xml"/><Relationship Id="rId171" Type="http://schemas.openxmlformats.org/officeDocument/2006/relationships/slide" Target="slides/slide168.xml"/><Relationship Id="rId172" Type="http://schemas.openxmlformats.org/officeDocument/2006/relationships/slide" Target="slides/slide169.xml"/><Relationship Id="rId173" Type="http://schemas.openxmlformats.org/officeDocument/2006/relationships/slide" Target="slides/slide170.xml"/><Relationship Id="rId174" Type="http://schemas.openxmlformats.org/officeDocument/2006/relationships/slide" Target="slides/slide171.xml"/><Relationship Id="rId175" Type="http://schemas.openxmlformats.org/officeDocument/2006/relationships/slide" Target="slides/slide172.xml"/><Relationship Id="rId176" Type="http://schemas.openxmlformats.org/officeDocument/2006/relationships/slide" Target="slides/slide173.xml"/><Relationship Id="rId177" Type="http://schemas.openxmlformats.org/officeDocument/2006/relationships/slide" Target="slides/slide174.xml"/><Relationship Id="rId178" Type="http://schemas.openxmlformats.org/officeDocument/2006/relationships/slide" Target="slides/slide175.xml"/><Relationship Id="rId179" Type="http://schemas.openxmlformats.org/officeDocument/2006/relationships/slide" Target="slides/slide176.xml"/><Relationship Id="rId180" Type="http://schemas.openxmlformats.org/officeDocument/2006/relationships/slide" Target="slides/slide177.xml"/><Relationship Id="rId181" Type="http://schemas.openxmlformats.org/officeDocument/2006/relationships/slide" Target="slides/slide178.xml"/><Relationship Id="rId182" Type="http://schemas.openxmlformats.org/officeDocument/2006/relationships/slide" Target="slides/slide179.xml"/><Relationship Id="rId183" Type="http://schemas.openxmlformats.org/officeDocument/2006/relationships/slide" Target="slides/slide180.xml"/><Relationship Id="rId184" Type="http://schemas.openxmlformats.org/officeDocument/2006/relationships/slide" Target="slides/slide181.xml"/><Relationship Id="rId185" Type="http://schemas.openxmlformats.org/officeDocument/2006/relationships/slide" Target="slides/slide182.xml"/><Relationship Id="rId186" Type="http://schemas.openxmlformats.org/officeDocument/2006/relationships/slide" Target="slides/slide183.xml"/><Relationship Id="rId187" Type="http://schemas.openxmlformats.org/officeDocument/2006/relationships/slide" Target="slides/slide184.xml"/><Relationship Id="rId188" Type="http://schemas.openxmlformats.org/officeDocument/2006/relationships/slide" Target="slides/slide185.xml"/><Relationship Id="rId189" Type="http://schemas.openxmlformats.org/officeDocument/2006/relationships/slide" Target="slides/slide186.xml"/><Relationship Id="rId190" Type="http://schemas.openxmlformats.org/officeDocument/2006/relationships/slide" Target="slides/slide187.xml"/><Relationship Id="rId191" Type="http://schemas.openxmlformats.org/officeDocument/2006/relationships/slide" Target="slides/slide188.xml"/><Relationship Id="rId192" Type="http://schemas.openxmlformats.org/officeDocument/2006/relationships/slide" Target="slides/slide189.xml"/><Relationship Id="rId193" Type="http://schemas.openxmlformats.org/officeDocument/2006/relationships/slide" Target="slides/slide190.xml"/><Relationship Id="rId194" Type="http://schemas.openxmlformats.org/officeDocument/2006/relationships/slide" Target="slides/slide191.xml"/><Relationship Id="rId195" Type="http://schemas.openxmlformats.org/officeDocument/2006/relationships/slide" Target="slides/slide192.xml"/><Relationship Id="rId196" Type="http://schemas.openxmlformats.org/officeDocument/2006/relationships/slide" Target="slides/slide193.xml"/><Relationship Id="rId197" Type="http://schemas.openxmlformats.org/officeDocument/2006/relationships/slide" Target="slides/slide194.xml"/><Relationship Id="rId198" Type="http://schemas.openxmlformats.org/officeDocument/2006/relationships/slide" Target="slides/slide195.xml"/><Relationship Id="rId199" Type="http://schemas.openxmlformats.org/officeDocument/2006/relationships/slide" Target="slides/slide196.xml"/><Relationship Id="rId200" Type="http://schemas.openxmlformats.org/officeDocument/2006/relationships/slide" Target="slides/slide197.xml"/><Relationship Id="rId201" Type="http://schemas.openxmlformats.org/officeDocument/2006/relationships/slide" Target="slides/slide198.xml"/><Relationship Id="rId202" Type="http://schemas.openxmlformats.org/officeDocument/2006/relationships/slide" Target="slides/slide199.xml"/><Relationship Id="rId203" Type="http://schemas.openxmlformats.org/officeDocument/2006/relationships/slide" Target="slides/slide200.xml"/><Relationship Id="rId204" Type="http://schemas.openxmlformats.org/officeDocument/2006/relationships/slide" Target="slides/slide201.xml"/><Relationship Id="rId205" Type="http://schemas.openxmlformats.org/officeDocument/2006/relationships/slide" Target="slides/slide202.xml"/><Relationship Id="rId206" Type="http://schemas.openxmlformats.org/officeDocument/2006/relationships/slide" Target="slides/slide203.xml"/><Relationship Id="rId207" Type="http://schemas.openxmlformats.org/officeDocument/2006/relationships/slide" Target="slides/slide204.xml"/><Relationship Id="rId208" Type="http://schemas.openxmlformats.org/officeDocument/2006/relationships/slide" Target="slides/slide205.xml"/><Relationship Id="rId209" Type="http://schemas.openxmlformats.org/officeDocument/2006/relationships/slide" Target="slides/slide206.xml"/><Relationship Id="rId210" Type="http://schemas.openxmlformats.org/officeDocument/2006/relationships/slide" Target="slides/slide207.xml"/><Relationship Id="rId211" Type="http://schemas.openxmlformats.org/officeDocument/2006/relationships/slide" Target="slides/slide208.xml"/><Relationship Id="rId212" Type="http://schemas.openxmlformats.org/officeDocument/2006/relationships/slide" Target="slides/slide209.xml"/><Relationship Id="rId213" Type="http://schemas.openxmlformats.org/officeDocument/2006/relationships/slide" Target="slides/slide210.xml"/><Relationship Id="rId214" Type="http://schemas.openxmlformats.org/officeDocument/2006/relationships/slide" Target="slides/slide211.xml"/><Relationship Id="rId215" Type="http://schemas.openxmlformats.org/officeDocument/2006/relationships/slide" Target="slides/slide212.xml"/><Relationship Id="rId216" Type="http://schemas.openxmlformats.org/officeDocument/2006/relationships/slide" Target="slides/slide213.xml"/><Relationship Id="rId217" Type="http://schemas.openxmlformats.org/officeDocument/2006/relationships/slide" Target="slides/slide214.xml"/><Relationship Id="rId218" Type="http://schemas.openxmlformats.org/officeDocument/2006/relationships/slide" Target="slides/slide215.xml"/><Relationship Id="rId219" Type="http://schemas.openxmlformats.org/officeDocument/2006/relationships/slide" Target="slides/slide216.xml"/><Relationship Id="rId220" Type="http://schemas.openxmlformats.org/officeDocument/2006/relationships/slide" Target="slides/slide217.xml"/><Relationship Id="rId221" Type="http://schemas.openxmlformats.org/officeDocument/2006/relationships/slide" Target="slides/slide218.xml"/><Relationship Id="rId222" Type="http://schemas.openxmlformats.org/officeDocument/2006/relationships/slide" Target="slides/slide219.xml"/><Relationship Id="rId223" Type="http://schemas.openxmlformats.org/officeDocument/2006/relationships/slide" Target="slides/slide220.xml"/><Relationship Id="rId224" Type="http://schemas.openxmlformats.org/officeDocument/2006/relationships/slide" Target="slides/slide221.xml"/><Relationship Id="rId225" Type="http://schemas.openxmlformats.org/officeDocument/2006/relationships/slide" Target="slides/slide222.xml"/><Relationship Id="rId226" Type="http://schemas.openxmlformats.org/officeDocument/2006/relationships/slide" Target="slides/slide223.xml"/><Relationship Id="rId227" Type="http://schemas.openxmlformats.org/officeDocument/2006/relationships/slide" Target="slides/slide224.xml"/><Relationship Id="rId228" Type="http://schemas.openxmlformats.org/officeDocument/2006/relationships/slide" Target="slides/slide225.xml"/><Relationship Id="rId229" Type="http://schemas.openxmlformats.org/officeDocument/2006/relationships/slide" Target="slides/slide226.xml"/><Relationship Id="rId230" Type="http://schemas.openxmlformats.org/officeDocument/2006/relationships/slide" Target="slides/slide227.xml"/><Relationship Id="rId231" Type="http://schemas.openxmlformats.org/officeDocument/2006/relationships/slide" Target="slides/slide228.xml"/><Relationship Id="rId232" Type="http://schemas.openxmlformats.org/officeDocument/2006/relationships/slide" Target="slides/slide229.xml"/><Relationship Id="rId233" Type="http://schemas.openxmlformats.org/officeDocument/2006/relationships/slide" Target="slides/slide230.xml"/><Relationship Id="rId234" Type="http://schemas.openxmlformats.org/officeDocument/2006/relationships/slide" Target="slides/slide231.xml"/><Relationship Id="rId235" Type="http://schemas.openxmlformats.org/officeDocument/2006/relationships/slide" Target="slides/slide232.xml"/><Relationship Id="rId236" Type="http://schemas.openxmlformats.org/officeDocument/2006/relationships/slide" Target="slides/slide233.xml"/><Relationship Id="rId237" Type="http://schemas.openxmlformats.org/officeDocument/2006/relationships/slide" Target="slides/slide234.xml"/><Relationship Id="rId238" Type="http://schemas.openxmlformats.org/officeDocument/2006/relationships/slide" Target="slides/slide235.xml"/><Relationship Id="rId239" Type="http://schemas.openxmlformats.org/officeDocument/2006/relationships/slide" Target="slides/slide236.xml"/><Relationship Id="rId240" Type="http://schemas.openxmlformats.org/officeDocument/2006/relationships/slide" Target="slides/slide237.xml"/><Relationship Id="rId241" Type="http://schemas.openxmlformats.org/officeDocument/2006/relationships/slide" Target="slides/slide238.xml"/><Relationship Id="rId242" Type="http://schemas.openxmlformats.org/officeDocument/2006/relationships/slide" Target="slides/slide239.xml"/><Relationship Id="rId243" Type="http://schemas.openxmlformats.org/officeDocument/2006/relationships/slide" Target="slides/slide240.xml"/><Relationship Id="rId244" Type="http://schemas.openxmlformats.org/officeDocument/2006/relationships/slide" Target="slides/slide241.xml"/><Relationship Id="rId245" Type="http://schemas.openxmlformats.org/officeDocument/2006/relationships/slide" Target="slides/slide242.xml"/><Relationship Id="rId246" Type="http://schemas.openxmlformats.org/officeDocument/2006/relationships/slide" Target="slides/slide243.xml"/><Relationship Id="rId247" Type="http://schemas.openxmlformats.org/officeDocument/2006/relationships/slide" Target="slides/slide244.xml"/><Relationship Id="rId248" Type="http://schemas.openxmlformats.org/officeDocument/2006/relationships/slide" Target="slides/slide245.xml"/><Relationship Id="rId249" Type="http://schemas.openxmlformats.org/officeDocument/2006/relationships/slide" Target="slides/slide246.xml"/><Relationship Id="rId250" Type="http://schemas.openxmlformats.org/officeDocument/2006/relationships/slide" Target="slides/slide247.xml"/><Relationship Id="rId251" Type="http://schemas.openxmlformats.org/officeDocument/2006/relationships/slide" Target="slides/slide248.xml"/><Relationship Id="rId252" Type="http://schemas.openxmlformats.org/officeDocument/2006/relationships/slide" Target="slides/slide249.xml"/><Relationship Id="rId253" Type="http://schemas.openxmlformats.org/officeDocument/2006/relationships/slide" Target="slides/slide250.xml"/><Relationship Id="rId254" Type="http://schemas.openxmlformats.org/officeDocument/2006/relationships/slide" Target="slides/slide251.xml"/><Relationship Id="rId255" Type="http://schemas.openxmlformats.org/officeDocument/2006/relationships/slide" Target="slides/slide252.xml"/><Relationship Id="rId256" Type="http://schemas.openxmlformats.org/officeDocument/2006/relationships/slide" Target="slides/slide253.xml"/><Relationship Id="rId257" Type="http://schemas.openxmlformats.org/officeDocument/2006/relationships/slide" Target="slides/slide254.xml"/><Relationship Id="rId258" Type="http://schemas.openxmlformats.org/officeDocument/2006/relationships/slide" Target="slides/slide255.xml"/><Relationship Id="rId259" Type="http://schemas.openxmlformats.org/officeDocument/2006/relationships/slide" Target="slides/slide256.xml"/><Relationship Id="rId260" Type="http://schemas.openxmlformats.org/officeDocument/2006/relationships/slide" Target="slides/slide257.xml"/><Relationship Id="rId261" Type="http://schemas.openxmlformats.org/officeDocument/2006/relationships/slide" Target="slides/slide258.xml"/><Relationship Id="rId262" Type="http://schemas.openxmlformats.org/officeDocument/2006/relationships/slide" Target="slides/slide259.xml"/><Relationship Id="rId263" Type="http://schemas.openxmlformats.org/officeDocument/2006/relationships/slide" Target="slides/slide260.xml"/><Relationship Id="rId264" Type="http://schemas.openxmlformats.org/officeDocument/2006/relationships/slide" Target="slides/slide261.xml"/><Relationship Id="rId265" Type="http://schemas.openxmlformats.org/officeDocument/2006/relationships/slide" Target="slides/slide262.xml"/><Relationship Id="rId266" Type="http://schemas.openxmlformats.org/officeDocument/2006/relationships/slide" Target="slides/slide263.xml"/><Relationship Id="rId267" Type="http://schemas.openxmlformats.org/officeDocument/2006/relationships/slide" Target="slides/slide264.xml"/><Relationship Id="rId268" Type="http://schemas.openxmlformats.org/officeDocument/2006/relationships/slide" Target="slides/slide265.xml"/><Relationship Id="rId269" Type="http://schemas.openxmlformats.org/officeDocument/2006/relationships/slide" Target="slides/slide266.xml"/><Relationship Id="rId270" Type="http://schemas.openxmlformats.org/officeDocument/2006/relationships/slide" Target="slides/slide267.xml"/><Relationship Id="rId271" Type="http://schemas.openxmlformats.org/officeDocument/2006/relationships/slide" Target="slides/slide268.xml"/><Relationship Id="rId272" Type="http://schemas.openxmlformats.org/officeDocument/2006/relationships/slide" Target="slides/slide269.xml"/><Relationship Id="rId273" Type="http://schemas.openxmlformats.org/officeDocument/2006/relationships/slide" Target="slides/slide270.xml"/><Relationship Id="rId274" Type="http://schemas.openxmlformats.org/officeDocument/2006/relationships/slide" Target="slides/slide271.xml"/><Relationship Id="rId275" Type="http://schemas.openxmlformats.org/officeDocument/2006/relationships/slide" Target="slides/slide272.xml"/><Relationship Id="rId276" Type="http://schemas.openxmlformats.org/officeDocument/2006/relationships/slide" Target="slides/slide273.xml"/><Relationship Id="rId277" Type="http://schemas.openxmlformats.org/officeDocument/2006/relationships/slide" Target="slides/slide274.xml"/><Relationship Id="rId278" Type="http://schemas.openxmlformats.org/officeDocument/2006/relationships/slide" Target="slides/slide275.xml"/><Relationship Id="rId279" Type="http://schemas.openxmlformats.org/officeDocument/2006/relationships/slide" Target="slides/slide276.xml"/><Relationship Id="rId280" Type="http://schemas.openxmlformats.org/officeDocument/2006/relationships/slide" Target="slides/slide277.xml"/><Relationship Id="rId281" Type="http://schemas.openxmlformats.org/officeDocument/2006/relationships/slide" Target="slides/slide278.xml"/><Relationship Id="rId282" Type="http://schemas.openxmlformats.org/officeDocument/2006/relationships/slide" Target="slides/slide279.xml"/><Relationship Id="rId283" Type="http://schemas.openxmlformats.org/officeDocument/2006/relationships/slide" Target="slides/slide280.xml"/><Relationship Id="rId284" Type="http://schemas.openxmlformats.org/officeDocument/2006/relationships/slide" Target="slides/slide281.xml"/><Relationship Id="rId285" Type="http://schemas.openxmlformats.org/officeDocument/2006/relationships/slide" Target="slides/slide282.xml"/><Relationship Id="rId286" Type="http://schemas.openxmlformats.org/officeDocument/2006/relationships/slide" Target="slides/slide283.xml"/><Relationship Id="rId287" Type="http://schemas.openxmlformats.org/officeDocument/2006/relationships/slide" Target="slides/slide284.xml"/><Relationship Id="rId288" Type="http://schemas.openxmlformats.org/officeDocument/2006/relationships/slide" Target="slides/slide285.xml"/><Relationship Id="rId289" Type="http://schemas.openxmlformats.org/officeDocument/2006/relationships/slide" Target="slides/slide286.xml"/><Relationship Id="rId290" Type="http://schemas.openxmlformats.org/officeDocument/2006/relationships/slide" Target="slides/slide287.xml"/><Relationship Id="rId291" Type="http://schemas.openxmlformats.org/officeDocument/2006/relationships/slide" Target="slides/slide288.xml"/><Relationship Id="rId292" Type="http://schemas.openxmlformats.org/officeDocument/2006/relationships/slide" Target="slides/slide289.xml"/><Relationship Id="rId293" Type="http://schemas.openxmlformats.org/officeDocument/2006/relationships/slide" Target="slides/slide290.xml"/><Relationship Id="rId294" Type="http://schemas.openxmlformats.org/officeDocument/2006/relationships/slide" Target="slides/slide291.xml"/><Relationship Id="rId295" Type="http://schemas.openxmlformats.org/officeDocument/2006/relationships/slide" Target="slides/slide292.xml"/><Relationship Id="rId296" Type="http://schemas.openxmlformats.org/officeDocument/2006/relationships/slide" Target="slides/slide293.xml"/><Relationship Id="rId297" Type="http://schemas.openxmlformats.org/officeDocument/2006/relationships/slide" Target="slides/slide294.xml"/><Relationship Id="rId298" Type="http://schemas.openxmlformats.org/officeDocument/2006/relationships/slide" Target="slides/slide295.xml"/><Relationship Id="rId299" Type="http://schemas.openxmlformats.org/officeDocument/2006/relationships/slide" Target="slides/slide296.xml"/><Relationship Id="rId300" Type="http://schemas.openxmlformats.org/officeDocument/2006/relationships/slide" Target="slides/slide297.xml"/><Relationship Id="rId301" Type="http://schemas.openxmlformats.org/officeDocument/2006/relationships/slide" Target="slides/slide298.xml"/><Relationship Id="rId302" Type="http://schemas.openxmlformats.org/officeDocument/2006/relationships/slide" Target="slides/slide299.xml"/><Relationship Id="rId303" Type="http://schemas.openxmlformats.org/officeDocument/2006/relationships/slide" Target="slides/slide300.xml"/><Relationship Id="rId304" Type="http://schemas.openxmlformats.org/officeDocument/2006/relationships/slide" Target="slides/slide301.xml"/><Relationship Id="rId305" Type="http://schemas.openxmlformats.org/officeDocument/2006/relationships/slide" Target="slides/slide302.xml"/><Relationship Id="rId306" Type="http://schemas.openxmlformats.org/officeDocument/2006/relationships/slide" Target="slides/slide303.xml"/><Relationship Id="rId307" Type="http://schemas.openxmlformats.org/officeDocument/2006/relationships/slide" Target="slides/slide304.xml"/><Relationship Id="rId308" Type="http://schemas.openxmlformats.org/officeDocument/2006/relationships/slide" Target="slides/slide305.xml"/><Relationship Id="rId309" Type="http://schemas.openxmlformats.org/officeDocument/2006/relationships/notesMaster" Target="notesMasters/notesMaster1.xml"/><Relationship Id="rId310" Type="http://schemas.openxmlformats.org/officeDocument/2006/relationships/tags" Target="tags/tag1.xml"/><Relationship Id="rId311" Type="http://schemas.openxmlformats.org/officeDocument/2006/relationships/presProps" Target="presProps.xml"/><Relationship Id="rId312" Type="http://schemas.openxmlformats.org/officeDocument/2006/relationships/viewProps" Target="viewProps.xml"/><Relationship Id="rId313" Type="http://schemas.openxmlformats.org/officeDocument/2006/relationships/theme" Target="theme/theme1.xml"/><Relationship Id="rId314" Type="http://schemas.openxmlformats.org/officeDocument/2006/relationships/tableStyles" Target="tableStyles.xml"/><Relationship Id="rId315" Type="http://schemas.microsoft.com/office/2015/10/relationships/revisionInfo" Target="revisionInfo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chart>
    <c:title>
      <c:tx>
        <c:rich>
          <a:bodyPr/>
          <a:lstStyle/>
          <a:p>
            <a:pPr>
              <a:defRPr/>
            </a:pPr>
          </a:p>
        </c:rich>
      </c:tx>
      <c:layout/>
      <c:overlay val="0"/>
    </c:title>
    <c:autoTitleDeleted val="0"/>
    <c:plotArea>
      <c:layout/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Data</c:v>
                </c:pt>
              </c:strCache>
            </c:strRef>
          </c:tx>
          <c:invertIfNegative val="0"/>
          <c:dPt>
            <c:idx val="0"/>
            <c:spPr>
              <a:solidFill>
                <a:srgbClr val="646464"/>
              </a:solidFill>
            </c:spPr>
          </c:dPt>
          <c:dPt>
            <c:idx val="1"/>
            <c:spPr>
              <a:solidFill>
                <a:srgbClr val="646464"/>
              </a:solidFill>
            </c:spPr>
          </c:dPt>
          <c:dPt>
            <c:idx val="2"/>
            <c:spPr>
              <a:solidFill>
                <a:srgbClr val="646464"/>
              </a:solidFill>
            </c:spPr>
          </c:dPt>
          <c:dPt>
            <c:idx val="3"/>
            <c:spPr>
              <a:solidFill>
                <a:srgbClr val="646464"/>
              </a:solidFill>
            </c:spPr>
          </c:dPt>
          <c:dPt>
            <c:idx val="4"/>
            <c:spPr>
              <a:solidFill>
                <a:srgbClr val="646464"/>
              </a:solidFill>
            </c:spPr>
          </c:dPt>
          <c:dPt>
            <c:idx val="5"/>
            <c:spPr>
              <a:solidFill>
                <a:srgbClr val="646464"/>
              </a:solidFill>
            </c:spPr>
          </c:dPt>
          <c:dPt>
            <c:idx val="6"/>
            <c:spPr>
              <a:solidFill>
                <a:srgbClr val="646464"/>
              </a:solidFill>
            </c:spPr>
          </c:dPt>
          <c:dPt>
            <c:idx val="7"/>
            <c:spPr>
              <a:solidFill>
                <a:srgbClr val="646464"/>
              </a:solidFill>
            </c:spPr>
          </c:dPt>
          <c:dPt>
            <c:idx val="8"/>
            <c:spPr>
              <a:solidFill>
                <a:srgbClr val="646464"/>
              </a:solidFill>
            </c:spPr>
          </c:dPt>
          <c:dPt>
            <c:idx val="9"/>
            <c:spPr>
              <a:solidFill>
                <a:srgbClr val="646464"/>
              </a:solidFill>
            </c:spPr>
          </c:dPt>
          <c:dPt>
            <c:idx val="10"/>
            <c:spPr>
              <a:solidFill>
                <a:srgbClr val="646464"/>
              </a:solidFill>
            </c:spPr>
          </c:dPt>
          <c:dPt>
            <c:idx val="11"/>
            <c:spPr>
              <a:solidFill>
                <a:srgbClr val="646464"/>
              </a:solidFill>
            </c:spPr>
          </c:dPt>
          <c:dPt>
            <c:idx val="12"/>
            <c:spPr>
              <a:solidFill>
                <a:srgbClr val="646464"/>
              </a:solidFill>
            </c:spPr>
          </c:dPt>
          <c:dPt>
            <c:idx val="13"/>
            <c:spPr>
              <a:solidFill>
                <a:srgbClr val="646464"/>
              </a:solidFill>
            </c:spPr>
          </c:dPt>
          <c:dPt>
            <c:idx val="14"/>
            <c:spPr>
              <a:solidFill>
                <a:srgbClr val="646464"/>
              </a:solidFill>
            </c:spPr>
          </c:dPt>
          <c:dPt>
            <c:idx val="15"/>
            <c:spPr>
              <a:solidFill>
                <a:srgbClr val="646464"/>
              </a:solidFill>
            </c:spPr>
          </c:dPt>
          <c:dPt>
            <c:idx val="16"/>
            <c:spPr>
              <a:solidFill>
                <a:srgbClr val="646464"/>
              </a:solidFill>
            </c:spPr>
          </c:dPt>
          <c:dPt>
            <c:idx val="17"/>
            <c:spPr>
              <a:solidFill>
                <a:srgbClr val="646464"/>
              </a:solidFill>
            </c:spPr>
          </c:dPt>
          <c:dPt>
            <c:idx val="18"/>
            <c:spPr>
              <a:solidFill>
                <a:srgbClr val="646464"/>
              </a:solidFill>
            </c:spPr>
          </c:dPt>
          <c:dPt>
            <c:idx val="19"/>
            <c:spPr>
              <a:solidFill>
                <a:srgbClr val="646464"/>
              </a:solidFill>
            </c:spPr>
          </c:dPt>
          <c:dPt>
            <c:idx val="20"/>
            <c:spPr>
              <a:solidFill>
                <a:srgbClr val="646464"/>
              </a:solidFill>
            </c:spPr>
          </c:dPt>
          <c:dPt>
            <c:idx val="21"/>
            <c:spPr>
              <a:solidFill>
                <a:srgbClr val="646464"/>
              </a:solidFill>
            </c:spPr>
          </c:dPt>
          <c:dPt>
            <c:idx val="22"/>
            <c:spPr>
              <a:solidFill>
                <a:srgbClr val="646464"/>
              </a:solidFill>
            </c:spPr>
          </c:dPt>
          <c:dPt>
            <c:idx val="23"/>
            <c:spPr>
              <a:solidFill>
                <a:srgbClr val="646464"/>
              </a:solidFill>
            </c:spPr>
          </c:dPt>
          <c:dPt>
            <c:idx val="24"/>
            <c:spPr>
              <a:solidFill>
                <a:srgbClr val="646464"/>
              </a:solidFill>
            </c:spPr>
          </c:dPt>
          <c:dPt>
            <c:idx val="25"/>
            <c:spPr>
              <a:solidFill>
                <a:srgbClr val="646464"/>
              </a:solidFill>
            </c:spPr>
          </c:dPt>
          <c:dPt>
            <c:idx val="26"/>
            <c:spPr>
              <a:solidFill>
                <a:srgbClr val="646464"/>
              </a:solidFill>
            </c:spPr>
          </c:dPt>
          <c:dPt>
            <c:idx val="27"/>
            <c:spPr>
              <a:solidFill>
                <a:srgbClr val="646464"/>
              </a:solidFill>
            </c:spPr>
          </c:dPt>
          <c:dPt>
            <c:idx val="28"/>
            <c:spPr>
              <a:solidFill>
                <a:srgbClr val="646464"/>
              </a:solidFill>
            </c:spPr>
          </c:dPt>
          <c:dPt>
            <c:idx val="29"/>
            <c:spPr>
              <a:solidFill>
                <a:srgbClr val="646464"/>
              </a:solidFill>
            </c:spPr>
          </c:dPt>
          <c:dPt>
            <c:idx val="30"/>
            <c:spPr>
              <a:solidFill>
                <a:srgbClr val="646464"/>
              </a:solidFill>
            </c:spPr>
          </c:dPt>
          <c:dPt>
            <c:idx val="31"/>
            <c:spPr>
              <a:solidFill>
                <a:srgbClr val="646464"/>
              </a:solidFill>
            </c:spPr>
          </c:dPt>
          <c:dPt>
            <c:idx val="32"/>
            <c:spPr>
              <a:solidFill>
                <a:srgbClr val="646464"/>
              </a:solidFill>
            </c:spPr>
          </c:dPt>
          <c:dPt>
            <c:idx val="33"/>
            <c:spPr>
              <a:solidFill>
                <a:srgbClr val="646464"/>
              </a:solidFill>
            </c:spPr>
          </c:dPt>
          <c:dPt>
            <c:idx val="34"/>
            <c:spPr>
              <a:solidFill>
                <a:srgbClr val="646464"/>
              </a:solidFill>
            </c:spPr>
          </c:dPt>
          <c:dPt>
            <c:idx val="35"/>
            <c:spPr>
              <a:solidFill>
                <a:srgbClr val="646464"/>
              </a:solidFill>
            </c:spPr>
          </c:dPt>
          <c:dPt>
            <c:idx val="36"/>
            <c:spPr>
              <a:solidFill>
                <a:srgbClr val="646464"/>
              </a:solidFill>
            </c:spPr>
          </c:dPt>
          <c:dPt>
            <c:idx val="37"/>
            <c:spPr>
              <a:solidFill>
                <a:srgbClr val="646464"/>
              </a:solidFill>
            </c:spPr>
          </c:dPt>
          <c:dPt>
            <c:idx val="38"/>
            <c:spPr>
              <a:solidFill>
                <a:srgbClr val="646464"/>
              </a:solidFill>
            </c:spPr>
          </c:dPt>
          <c:dPt>
            <c:idx val="39"/>
            <c:spPr>
              <a:solidFill>
                <a:srgbClr val="646464"/>
              </a:solidFill>
            </c:spPr>
          </c:dPt>
          <c:dPt>
            <c:idx val="40"/>
            <c:spPr>
              <a:solidFill>
                <a:srgbClr val="646464"/>
              </a:solidFill>
            </c:spPr>
          </c:dPt>
          <c:dPt>
            <c:idx val="41"/>
            <c:spPr>
              <a:solidFill>
                <a:srgbClr val="646464"/>
              </a:solidFill>
            </c:spPr>
          </c:dPt>
          <c:dPt>
            <c:idx val="42"/>
            <c:spPr>
              <a:solidFill>
                <a:srgbClr val="646464"/>
              </a:solidFill>
            </c:spPr>
          </c:dPt>
          <c:dPt>
            <c:idx val="43"/>
            <c:spPr>
              <a:solidFill>
                <a:srgbClr val="646464"/>
              </a:solidFill>
            </c:spPr>
          </c:dPt>
          <c:dPt>
            <c:idx val="44"/>
            <c:spPr>
              <a:solidFill>
                <a:srgbClr val="646464"/>
              </a:solidFill>
            </c:spPr>
          </c:dPt>
          <c:dPt>
            <c:idx val="45"/>
            <c:spPr>
              <a:solidFill>
                <a:srgbClr val="646464"/>
              </a:solidFill>
            </c:spPr>
          </c:dPt>
          <c:dPt>
            <c:idx val="46"/>
            <c:spPr>
              <a:solidFill>
                <a:srgbClr val="646464"/>
              </a:solidFill>
            </c:spPr>
          </c:dPt>
          <c:dPt>
            <c:idx val="47"/>
            <c:spPr>
              <a:solidFill>
                <a:srgbClr val="646464"/>
              </a:solidFill>
            </c:spPr>
          </c:dPt>
          <c:dPt>
            <c:idx val="48"/>
            <c:spPr>
              <a:solidFill>
                <a:srgbClr val="646464"/>
              </a:solidFill>
            </c:spPr>
          </c:dPt>
          <c:dPt>
            <c:idx val="49"/>
            <c:spPr>
              <a:solidFill>
                <a:srgbClr val="646464"/>
              </a:solidFill>
            </c:spPr>
          </c:dPt>
          <c:dPt>
            <c:idx val="50"/>
            <c:spPr>
              <a:solidFill>
                <a:srgbClr val="646464"/>
              </a:solidFill>
            </c:spPr>
          </c:dPt>
          <c:dPt>
            <c:idx val="51"/>
            <c:spPr>
              <a:solidFill>
                <a:srgbClr val="646464"/>
              </a:solidFill>
            </c:spPr>
          </c:dPt>
          <c:dPt>
            <c:idx val="52"/>
            <c:spPr>
              <a:solidFill>
                <a:srgbClr val="646464"/>
              </a:solidFill>
            </c:spPr>
          </c:dPt>
          <c:dPt>
            <c:idx val="53"/>
            <c:spPr>
              <a:solidFill>
                <a:srgbClr val="646464"/>
              </a:solidFill>
            </c:spPr>
          </c:dPt>
          <c:dPt>
            <c:idx val="54"/>
            <c:spPr>
              <a:solidFill>
                <a:srgbClr val="646464"/>
              </a:solidFill>
            </c:spPr>
          </c:dPt>
          <c:dPt>
            <c:idx val="55"/>
            <c:spPr>
              <a:solidFill>
                <a:srgbClr val="646464"/>
              </a:solidFill>
            </c:spPr>
          </c:dPt>
          <c:dPt>
            <c:idx val="56"/>
            <c:spPr>
              <a:solidFill>
                <a:srgbClr val="646464"/>
              </a:solidFill>
            </c:spPr>
          </c:dPt>
          <c:dPt>
            <c:idx val="57"/>
            <c:spPr>
              <a:solidFill>
                <a:srgbClr val="646464"/>
              </a:solidFill>
            </c:spPr>
          </c:dPt>
          <c:dPt>
            <c:idx val="58"/>
            <c:spPr>
              <a:solidFill>
                <a:srgbClr val="646464"/>
              </a:solidFill>
            </c:spPr>
          </c:dPt>
          <c:dPt>
            <c:idx val="59"/>
            <c:spPr>
              <a:solidFill>
                <a:srgbClr val="646464"/>
              </a:solidFill>
            </c:spPr>
          </c:dPt>
          <c:dPt>
            <c:idx val="60"/>
            <c:spPr>
              <a:solidFill>
                <a:srgbClr val="646464"/>
              </a:solidFill>
            </c:spPr>
          </c:dPt>
          <c:dPt>
            <c:idx val="61"/>
            <c:spPr>
              <a:solidFill>
                <a:srgbClr val="646464"/>
              </a:solidFill>
            </c:spPr>
          </c:dPt>
          <c:dPt>
            <c:idx val="62"/>
            <c:spPr>
              <a:solidFill>
                <a:srgbClr val="646464"/>
              </a:solidFill>
            </c:spPr>
          </c:dPt>
          <c:dPt>
            <c:idx val="63"/>
            <c:spPr>
              <a:solidFill>
                <a:srgbClr val="646464"/>
              </a:solidFill>
            </c:spPr>
          </c:dPt>
          <c:dPt>
            <c:idx val="64"/>
            <c:spPr>
              <a:solidFill>
                <a:srgbClr val="646464"/>
              </a:solidFill>
            </c:spPr>
          </c:dPt>
          <c:dPt>
            <c:idx val="65"/>
            <c:spPr>
              <a:solidFill>
                <a:srgbClr val="646464"/>
              </a:solidFill>
            </c:spPr>
          </c:dPt>
          <c:dPt>
            <c:idx val="66"/>
            <c:spPr>
              <a:solidFill>
                <a:srgbClr val="646464"/>
              </a:solidFill>
            </c:spPr>
          </c:dPt>
          <c:dPt>
            <c:idx val="67"/>
            <c:spPr>
              <a:solidFill>
                <a:srgbClr val="646464"/>
              </a:solidFill>
            </c:spPr>
          </c:dPt>
          <c:dPt>
            <c:idx val="68"/>
            <c:spPr>
              <a:solidFill>
                <a:srgbClr val="646464"/>
              </a:solidFill>
            </c:spPr>
          </c:dPt>
          <c:dPt>
            <c:idx val="69"/>
            <c:spPr>
              <a:solidFill>
                <a:srgbClr val="646464"/>
              </a:solidFill>
            </c:spPr>
          </c:dPt>
          <c:dPt>
            <c:idx val="70"/>
            <c:spPr>
              <a:solidFill>
                <a:srgbClr val="646464"/>
              </a:solidFill>
            </c:spPr>
          </c:dPt>
          <c:dPt>
            <c:idx val="71"/>
            <c:spPr>
              <a:solidFill>
                <a:srgbClr val="646464"/>
              </a:solidFill>
            </c:spPr>
          </c:dPt>
          <c:dPt>
            <c:idx val="72"/>
            <c:spPr>
              <a:solidFill>
                <a:srgbClr val="646464"/>
              </a:solidFill>
            </c:spPr>
          </c:dPt>
          <c:dPt>
            <c:idx val="73"/>
            <c:spPr>
              <a:solidFill>
                <a:srgbClr val="646464"/>
              </a:solidFill>
            </c:spPr>
          </c:dPt>
          <c:dPt>
            <c:idx val="74"/>
            <c:spPr>
              <a:solidFill>
                <a:srgbClr val="646464"/>
              </a:solidFill>
            </c:spPr>
          </c:dPt>
          <c:dPt>
            <c:idx val="75"/>
            <c:spPr>
              <a:solidFill>
                <a:srgbClr val="646464"/>
              </a:solidFill>
            </c:spPr>
          </c:dPt>
          <c:dPt>
            <c:idx val="76"/>
            <c:spPr>
              <a:solidFill>
                <a:srgbClr val="646464"/>
              </a:solidFill>
            </c:spPr>
          </c:dPt>
          <c:dPt>
            <c:idx val="77"/>
            <c:spPr>
              <a:solidFill>
                <a:srgbClr val="646464"/>
              </a:solidFill>
            </c:spPr>
          </c:dPt>
          <c:dPt>
            <c:idx val="78"/>
            <c:spPr>
              <a:solidFill>
                <a:srgbClr val="646464"/>
              </a:solidFill>
            </c:spPr>
          </c:dPt>
          <c:dPt>
            <c:idx val="79"/>
            <c:spPr>
              <a:solidFill>
                <a:srgbClr val="646464"/>
              </a:solidFill>
            </c:spPr>
          </c:dPt>
          <c:dPt>
            <c:idx val="80"/>
            <c:spPr>
              <a:solidFill>
                <a:srgbClr val="646464"/>
              </a:solidFill>
            </c:spPr>
          </c:dPt>
          <c:dPt>
            <c:idx val="81"/>
            <c:spPr>
              <a:solidFill>
                <a:srgbClr val="646464"/>
              </a:solidFill>
            </c:spPr>
          </c:dPt>
          <c:dPt>
            <c:idx val="82"/>
            <c:spPr>
              <a:solidFill>
                <a:srgbClr val="646464"/>
              </a:solidFill>
            </c:spPr>
          </c:dPt>
          <c:dPt>
            <c:idx val="83"/>
            <c:spPr>
              <a:solidFill>
                <a:srgbClr val="646464"/>
              </a:solidFill>
            </c:spPr>
          </c:dPt>
          <c:dPt>
            <c:idx val="84"/>
            <c:spPr>
              <a:solidFill>
                <a:srgbClr val="646464"/>
              </a:solidFill>
            </c:spPr>
          </c:dPt>
          <c:dPt>
            <c:idx val="85"/>
            <c:spPr>
              <a:solidFill>
                <a:srgbClr val="646464"/>
              </a:solidFill>
            </c:spPr>
          </c:dPt>
          <c:dPt>
            <c:idx val="86"/>
            <c:spPr>
              <a:solidFill>
                <a:srgbClr val="646464"/>
              </a:solidFill>
            </c:spPr>
          </c:dPt>
          <c:dPt>
            <c:idx val="87"/>
            <c:spPr>
              <a:solidFill>
                <a:srgbClr val="646464"/>
              </a:solidFill>
            </c:spPr>
          </c:dPt>
          <c:dPt>
            <c:idx val="88"/>
            <c:spPr>
              <a:solidFill>
                <a:srgbClr val="646464"/>
              </a:solidFill>
            </c:spPr>
          </c:dPt>
          <c:dPt>
            <c:idx val="89"/>
            <c:spPr>
              <a:solidFill>
                <a:srgbClr val="646464"/>
              </a:solidFill>
            </c:spPr>
          </c:dPt>
          <c:dPt>
            <c:idx val="90"/>
            <c:spPr>
              <a:solidFill>
                <a:srgbClr val="646464"/>
              </a:solidFill>
            </c:spPr>
          </c:dPt>
          <c:dPt>
            <c:idx val="91"/>
            <c:spPr>
              <a:solidFill>
                <a:srgbClr val="646464"/>
              </a:solidFill>
            </c:spPr>
          </c:dPt>
          <c:dPt>
            <c:idx val="92"/>
            <c:spPr>
              <a:solidFill>
                <a:srgbClr val="646464"/>
              </a:solidFill>
            </c:spPr>
          </c:dPt>
          <c:dPt>
            <c:idx val="93"/>
            <c:spPr>
              <a:solidFill>
                <a:srgbClr val="646464"/>
              </a:solidFill>
            </c:spPr>
          </c:dPt>
          <c:dPt>
            <c:idx val="94"/>
            <c:spPr>
              <a:solidFill>
                <a:srgbClr val="646464"/>
              </a:solidFill>
            </c:spPr>
          </c:dPt>
          <c:dPt>
            <c:idx val="95"/>
            <c:spPr>
              <a:solidFill>
                <a:srgbClr val="646464"/>
              </a:solidFill>
            </c:spPr>
          </c:dPt>
          <c:dPt>
            <c:idx val="96"/>
            <c:spPr>
              <a:solidFill>
                <a:srgbClr val="646464"/>
              </a:solidFill>
            </c:spPr>
          </c:dPt>
          <c:dPt>
            <c:idx val="97"/>
            <c:spPr>
              <a:solidFill>
                <a:srgbClr val="646464"/>
              </a:solidFill>
            </c:spPr>
          </c:dPt>
          <c:dPt>
            <c:idx val="98"/>
            <c:spPr>
              <a:solidFill>
                <a:srgbClr val="646464"/>
              </a:solidFill>
            </c:spPr>
          </c:dPt>
          <c:dPt>
            <c:idx val="99"/>
            <c:spPr>
              <a:solidFill>
                <a:srgbClr val="646464"/>
              </a:solidFill>
            </c:spPr>
          </c:dPt>
          <c:dPt>
            <c:idx val="100"/>
            <c:spPr>
              <a:solidFill>
                <a:srgbClr val="646464"/>
              </a:solidFill>
            </c:spPr>
          </c:dPt>
          <c:dPt>
            <c:idx val="101"/>
            <c:spPr>
              <a:solidFill>
                <a:srgbClr val="646464"/>
              </a:solidFill>
            </c:spPr>
          </c:dPt>
          <c:dPt>
            <c:idx val="102"/>
            <c:spPr>
              <a:solidFill>
                <a:srgbClr val="646464"/>
              </a:solidFill>
            </c:spPr>
          </c:dPt>
          <c:dPt>
            <c:idx val="103"/>
            <c:spPr>
              <a:solidFill>
                <a:srgbClr val="646464"/>
              </a:solidFill>
            </c:spPr>
          </c:dPt>
          <c:dPt>
            <c:idx val="104"/>
            <c:spPr>
              <a:solidFill>
                <a:srgbClr val="646464"/>
              </a:solidFill>
            </c:spPr>
          </c:dPt>
          <c:dPt>
            <c:idx val="105"/>
            <c:spPr>
              <a:solidFill>
                <a:srgbClr val="646464"/>
              </a:solidFill>
            </c:spPr>
          </c:dPt>
          <c:dPt>
            <c:idx val="106"/>
            <c:spPr>
              <a:solidFill>
                <a:srgbClr val="646464"/>
              </a:solidFill>
            </c:spPr>
          </c:dPt>
          <c:dPt>
            <c:idx val="107"/>
            <c:spPr>
              <a:solidFill>
                <a:srgbClr val="646464"/>
              </a:solidFill>
            </c:spPr>
          </c:dPt>
          <c:dPt>
            <c:idx val="108"/>
            <c:spPr>
              <a:solidFill>
                <a:srgbClr val="646464"/>
              </a:solidFill>
            </c:spPr>
          </c:dPt>
          <c:dPt>
            <c:idx val="109"/>
            <c:spPr>
              <a:solidFill>
                <a:srgbClr val="646464"/>
              </a:solidFill>
            </c:spPr>
          </c:dPt>
          <c:dPt>
            <c:idx val="110"/>
            <c:spPr>
              <a:solidFill>
                <a:srgbClr val="646464"/>
              </a:solidFill>
            </c:spPr>
          </c:dPt>
          <c:dPt>
            <c:idx val="111"/>
            <c:spPr>
              <a:solidFill>
                <a:srgbClr val="646464"/>
              </a:solidFill>
            </c:spPr>
          </c:dPt>
          <c:dPt>
            <c:idx val="112"/>
            <c:spPr>
              <a:solidFill>
                <a:srgbClr val="646464"/>
              </a:solidFill>
            </c:spPr>
          </c:dPt>
          <c:dPt>
            <c:idx val="113"/>
            <c:spPr>
              <a:solidFill>
                <a:srgbClr val="646464"/>
              </a:solidFill>
            </c:spPr>
          </c:dPt>
          <c:dPt>
            <c:idx val="114"/>
            <c:spPr>
              <a:solidFill>
                <a:srgbClr val="646464"/>
              </a:solidFill>
            </c:spPr>
          </c:dPt>
          <c:dPt>
            <c:idx val="115"/>
            <c:spPr>
              <a:solidFill>
                <a:srgbClr val="646464"/>
              </a:solidFill>
            </c:spPr>
          </c:dPt>
          <c:dPt>
            <c:idx val="116"/>
            <c:spPr>
              <a:solidFill>
                <a:srgbClr val="646464"/>
              </a:solidFill>
            </c:spPr>
          </c:dPt>
          <c:dPt>
            <c:idx val="117"/>
            <c:spPr>
              <a:solidFill>
                <a:srgbClr val="646464"/>
              </a:solidFill>
            </c:spPr>
          </c:dPt>
          <c:dPt>
            <c:idx val="118"/>
            <c:spPr>
              <a:solidFill>
                <a:srgbClr val="646464"/>
              </a:solidFill>
            </c:spPr>
          </c:dPt>
          <c:dPt>
            <c:idx val="119"/>
            <c:spPr>
              <a:solidFill>
                <a:srgbClr val="646464"/>
              </a:solidFill>
            </c:spPr>
          </c:dPt>
          <c:dPt>
            <c:idx val="120"/>
            <c:spPr>
              <a:solidFill>
                <a:srgbClr val="646464"/>
              </a:solidFill>
            </c:spPr>
          </c:dPt>
          <c:dPt>
            <c:idx val="121"/>
            <c:spPr>
              <a:solidFill>
                <a:srgbClr val="646464"/>
              </a:solidFill>
            </c:spPr>
          </c:dPt>
          <c:dPt>
            <c:idx val="122"/>
            <c:spPr>
              <a:solidFill>
                <a:srgbClr val="646464"/>
              </a:solidFill>
            </c:spPr>
          </c:dPt>
          <c:dPt>
            <c:idx val="123"/>
            <c:spPr>
              <a:solidFill>
                <a:srgbClr val="646464"/>
              </a:solidFill>
            </c:spPr>
          </c:dPt>
          <c:dPt>
            <c:idx val="124"/>
            <c:spPr>
              <a:solidFill>
                <a:srgbClr val="646464"/>
              </a:solidFill>
            </c:spPr>
          </c:dPt>
          <c:dPt>
            <c:idx val="125"/>
            <c:spPr>
              <a:solidFill>
                <a:srgbClr val="646464"/>
              </a:solidFill>
            </c:spPr>
          </c:dPt>
          <c:dPt>
            <c:idx val="126"/>
            <c:spPr>
              <a:solidFill>
                <a:srgbClr val="646464"/>
              </a:solidFill>
            </c:spPr>
          </c:dPt>
          <c:dPt>
            <c:idx val="127"/>
            <c:spPr>
              <a:solidFill>
                <a:srgbClr val="646464"/>
              </a:solidFill>
            </c:spPr>
          </c:dPt>
          <c:dPt>
            <c:idx val="128"/>
            <c:spPr>
              <a:solidFill>
                <a:srgbClr val="646464"/>
              </a:solidFill>
            </c:spPr>
          </c:dPt>
          <c:dPt>
            <c:idx val="129"/>
            <c:spPr>
              <a:solidFill>
                <a:srgbClr val="646464"/>
              </a:solidFill>
            </c:spPr>
          </c:dPt>
          <c:dPt>
            <c:idx val="130"/>
            <c:spPr>
              <a:solidFill>
                <a:srgbClr val="646464"/>
              </a:solidFill>
            </c:spPr>
          </c:dPt>
          <c:dPt>
            <c:idx val="131"/>
            <c:spPr>
              <a:solidFill>
                <a:srgbClr val="646464"/>
              </a:solidFill>
            </c:spPr>
          </c:dPt>
          <c:dPt>
            <c:idx val="132"/>
            <c:spPr>
              <a:solidFill>
                <a:srgbClr val="646464"/>
              </a:solidFill>
            </c:spPr>
          </c:dPt>
          <c:dPt>
            <c:idx val="133"/>
            <c:spPr>
              <a:solidFill>
                <a:srgbClr val="646464"/>
              </a:solidFill>
            </c:spPr>
          </c:dPt>
          <c:dPt>
            <c:idx val="134"/>
            <c:spPr>
              <a:solidFill>
                <a:srgbClr val="646464"/>
              </a:solidFill>
            </c:spPr>
          </c:dPt>
          <c:dPt>
            <c:idx val="135"/>
            <c:spPr>
              <a:solidFill>
                <a:srgbClr val="646464"/>
              </a:solidFill>
            </c:spPr>
          </c:dPt>
          <c:dPt>
            <c:idx val="136"/>
            <c:spPr>
              <a:solidFill>
                <a:srgbClr val="646464"/>
              </a:solidFill>
            </c:spPr>
          </c:dPt>
          <c:dPt>
            <c:idx val="137"/>
            <c:spPr>
              <a:solidFill>
                <a:srgbClr val="646464"/>
              </a:solidFill>
            </c:spPr>
          </c:dPt>
          <c:dPt>
            <c:idx val="138"/>
            <c:spPr>
              <a:solidFill>
                <a:srgbClr val="646464"/>
              </a:solidFill>
            </c:spPr>
          </c:dPt>
          <c:dPt>
            <c:idx val="139"/>
            <c:spPr>
              <a:solidFill>
                <a:srgbClr val="646464"/>
              </a:solidFill>
            </c:spPr>
          </c:dPt>
          <c:dPt>
            <c:idx val="140"/>
            <c:spPr>
              <a:solidFill>
                <a:srgbClr val="646464"/>
              </a:solidFill>
            </c:spPr>
          </c:dPt>
          <c:dPt>
            <c:idx val="141"/>
            <c:spPr>
              <a:solidFill>
                <a:srgbClr val="646464"/>
              </a:solidFill>
            </c:spPr>
          </c:dPt>
          <c:dPt>
            <c:idx val="142"/>
            <c:spPr>
              <a:solidFill>
                <a:srgbClr val="646464"/>
              </a:solidFill>
            </c:spPr>
          </c:dPt>
          <c:dPt>
            <c:idx val="143"/>
            <c:spPr>
              <a:solidFill>
                <a:srgbClr val="646464"/>
              </a:solidFill>
            </c:spPr>
          </c:dPt>
          <c:dPt>
            <c:idx val="144"/>
            <c:spPr>
              <a:solidFill>
                <a:srgbClr val="646464"/>
              </a:solidFill>
            </c:spPr>
          </c:dPt>
          <c:dPt>
            <c:idx val="145"/>
            <c:spPr>
              <a:solidFill>
                <a:srgbClr val="646464"/>
              </a:solidFill>
            </c:spPr>
          </c:dPt>
          <c:dPt>
            <c:idx val="146"/>
            <c:spPr>
              <a:solidFill>
                <a:srgbClr val="646464"/>
              </a:solidFill>
            </c:spPr>
          </c:dPt>
          <c:dPt>
            <c:idx val="147"/>
            <c:spPr>
              <a:solidFill>
                <a:srgbClr val="646464"/>
              </a:solidFill>
            </c:spPr>
          </c:dPt>
          <c:dPt>
            <c:idx val="148"/>
            <c:spPr>
              <a:solidFill>
                <a:srgbClr val="646464"/>
              </a:solidFill>
            </c:spPr>
          </c:dPt>
          <c:dPt>
            <c:idx val="149"/>
            <c:spPr>
              <a:solidFill>
                <a:srgbClr val="646464"/>
              </a:solidFill>
            </c:spPr>
          </c:dPt>
          <c:dPt>
            <c:idx val="150"/>
            <c:spPr>
              <a:solidFill>
                <a:srgbClr val="646464"/>
              </a:solidFill>
            </c:spPr>
          </c:dPt>
          <c:dPt>
            <c:idx val="151"/>
            <c:spPr>
              <a:solidFill>
                <a:srgbClr val="646464"/>
              </a:solidFill>
            </c:spPr>
          </c:dPt>
          <c:dPt>
            <c:idx val="152"/>
            <c:spPr>
              <a:solidFill>
                <a:srgbClr val="646464"/>
              </a:solidFill>
            </c:spPr>
          </c:dPt>
          <c:dPt>
            <c:idx val="153"/>
            <c:spPr>
              <a:solidFill>
                <a:srgbClr val="646464"/>
              </a:solidFill>
            </c:spPr>
          </c:dPt>
          <c:dPt>
            <c:idx val="154"/>
            <c:spPr>
              <a:solidFill>
                <a:srgbClr val="646464"/>
              </a:solidFill>
            </c:spPr>
          </c:dPt>
          <c:dPt>
            <c:idx val="155"/>
            <c:spPr>
              <a:solidFill>
                <a:srgbClr val="646464"/>
              </a:solidFill>
            </c:spPr>
          </c:dPt>
          <c:dPt>
            <c:idx val="156"/>
            <c:spPr>
              <a:solidFill>
                <a:srgbClr val="646464"/>
              </a:solidFill>
            </c:spPr>
          </c:dPt>
          <c:dPt>
            <c:idx val="157"/>
            <c:spPr>
              <a:solidFill>
                <a:srgbClr val="646464"/>
              </a:solidFill>
            </c:spPr>
          </c:dPt>
          <c:dPt>
            <c:idx val="158"/>
            <c:spPr>
              <a:solidFill>
                <a:srgbClr val="646464"/>
              </a:solidFill>
            </c:spPr>
          </c:dPt>
          <c:dPt>
            <c:idx val="159"/>
            <c:spPr>
              <a:solidFill>
                <a:srgbClr val="646464"/>
              </a:solidFill>
            </c:spPr>
          </c:dPt>
          <c:dPt>
            <c:idx val="160"/>
            <c:spPr>
              <a:solidFill>
                <a:srgbClr val="646464"/>
              </a:solidFill>
            </c:spPr>
          </c:dPt>
          <c:dPt>
            <c:idx val="161"/>
            <c:spPr>
              <a:solidFill>
                <a:srgbClr val="646464"/>
              </a:solidFill>
            </c:spPr>
          </c:dPt>
          <c:dPt>
            <c:idx val="162"/>
            <c:spPr>
              <a:solidFill>
                <a:srgbClr val="646464"/>
              </a:solidFill>
            </c:spPr>
          </c:dPt>
          <c:dPt>
            <c:idx val="163"/>
            <c:spPr>
              <a:solidFill>
                <a:srgbClr val="646464"/>
              </a:solidFill>
            </c:spPr>
          </c:dPt>
          <c:dPt>
            <c:idx val="164"/>
            <c:spPr>
              <a:solidFill>
                <a:srgbClr val="646464"/>
              </a:solidFill>
            </c:spPr>
          </c:dPt>
          <c:dPt>
            <c:idx val="165"/>
            <c:spPr>
              <a:solidFill>
                <a:srgbClr val="646464"/>
              </a:solidFill>
            </c:spPr>
          </c:dPt>
          <c:dPt>
            <c:idx val="166"/>
            <c:spPr>
              <a:solidFill>
                <a:srgbClr val="646464"/>
              </a:solidFill>
            </c:spPr>
          </c:dPt>
          <c:dPt>
            <c:idx val="167"/>
            <c:spPr>
              <a:solidFill>
                <a:srgbClr val="646464"/>
              </a:solidFill>
            </c:spPr>
          </c:dPt>
          <c:dPt>
            <c:idx val="168"/>
            <c:spPr>
              <a:solidFill>
                <a:srgbClr val="646464"/>
              </a:solidFill>
            </c:spPr>
          </c:dPt>
          <c:dPt>
            <c:idx val="169"/>
            <c:spPr>
              <a:solidFill>
                <a:srgbClr val="646464"/>
              </a:solidFill>
            </c:spPr>
          </c:dPt>
          <c:dPt>
            <c:idx val="170"/>
            <c:spPr>
              <a:solidFill>
                <a:srgbClr val="646464"/>
              </a:solidFill>
            </c:spPr>
          </c:dPt>
          <c:dPt>
            <c:idx val="171"/>
            <c:spPr>
              <a:solidFill>
                <a:srgbClr val="646464"/>
              </a:solidFill>
            </c:spPr>
          </c:dPt>
          <c:dPt>
            <c:idx val="172"/>
            <c:spPr>
              <a:solidFill>
                <a:srgbClr val="646464"/>
              </a:solidFill>
            </c:spPr>
          </c:dPt>
          <c:dPt>
            <c:idx val="173"/>
            <c:spPr>
              <a:solidFill>
                <a:srgbClr val="646464"/>
              </a:solidFill>
            </c:spPr>
          </c:dPt>
          <c:dPt>
            <c:idx val="174"/>
            <c:spPr>
              <a:solidFill>
                <a:srgbClr val="646464"/>
              </a:solidFill>
            </c:spPr>
          </c:dPt>
          <c:dPt>
            <c:idx val="175"/>
            <c:spPr>
              <a:solidFill>
                <a:srgbClr val="646464"/>
              </a:solidFill>
            </c:spPr>
          </c:dPt>
          <c:dPt>
            <c:idx val="176"/>
            <c:spPr>
              <a:solidFill>
                <a:srgbClr val="646464"/>
              </a:solidFill>
            </c:spPr>
          </c:dPt>
          <c:dPt>
            <c:idx val="177"/>
            <c:spPr>
              <a:solidFill>
                <a:srgbClr val="646464"/>
              </a:solidFill>
            </c:spPr>
          </c:dPt>
          <c:dPt>
            <c:idx val="178"/>
            <c:spPr>
              <a:solidFill>
                <a:srgbClr val="646464"/>
              </a:solidFill>
            </c:spPr>
          </c:dPt>
          <c:dPt>
            <c:idx val="179"/>
            <c:spPr>
              <a:solidFill>
                <a:srgbClr val="646464"/>
              </a:solidFill>
            </c:spPr>
          </c:dPt>
          <c:dPt>
            <c:idx val="180"/>
            <c:spPr>
              <a:solidFill>
                <a:srgbClr val="646464"/>
              </a:solidFill>
            </c:spPr>
          </c:dPt>
          <c:dPt>
            <c:idx val="181"/>
            <c:spPr>
              <a:solidFill>
                <a:srgbClr val="646464"/>
              </a:solidFill>
            </c:spPr>
          </c:dPt>
          <c:dPt>
            <c:idx val="182"/>
            <c:spPr>
              <a:solidFill>
                <a:srgbClr val="646464"/>
              </a:solidFill>
            </c:spPr>
          </c:dPt>
          <c:dPt>
            <c:idx val="183"/>
            <c:spPr>
              <a:solidFill>
                <a:srgbClr val="646464"/>
              </a:solidFill>
            </c:spPr>
          </c:dPt>
          <c:dPt>
            <c:idx val="184"/>
            <c:spPr>
              <a:solidFill>
                <a:srgbClr val="646464"/>
              </a:solidFill>
            </c:spPr>
          </c:dPt>
          <c:dPt>
            <c:idx val="185"/>
            <c:spPr>
              <a:solidFill>
                <a:srgbClr val="646464"/>
              </a:solidFill>
            </c:spPr>
          </c:dPt>
          <c:dPt>
            <c:idx val="186"/>
            <c:spPr>
              <a:solidFill>
                <a:srgbClr val="646464"/>
              </a:solidFill>
            </c:spPr>
          </c:dPt>
          <c:dPt>
            <c:idx val="187"/>
            <c:spPr>
              <a:solidFill>
                <a:srgbClr val="646464"/>
              </a:solidFill>
            </c:spPr>
          </c:dPt>
          <c:dPt>
            <c:idx val="188"/>
            <c:spPr>
              <a:solidFill>
                <a:srgbClr val="646464"/>
              </a:solidFill>
            </c:spPr>
          </c:dPt>
          <c:dPt>
            <c:idx val="189"/>
            <c:spPr>
              <a:solidFill>
                <a:srgbClr val="646464"/>
              </a:solidFill>
            </c:spPr>
          </c:dPt>
          <c:dPt>
            <c:idx val="190"/>
            <c:spPr>
              <a:solidFill>
                <a:srgbClr val="646464"/>
              </a:solidFill>
            </c:spPr>
          </c:dPt>
          <c:dPt>
            <c:idx val="191"/>
            <c:spPr>
              <a:solidFill>
                <a:srgbClr val="646464"/>
              </a:solidFill>
            </c:spPr>
          </c:dPt>
          <c:dPt>
            <c:idx val="192"/>
            <c:spPr>
              <a:solidFill>
                <a:srgbClr val="646464"/>
              </a:solidFill>
            </c:spPr>
          </c:dPt>
          <c:dPt>
            <c:idx val="193"/>
            <c:spPr>
              <a:solidFill>
                <a:srgbClr val="646464"/>
              </a:solidFill>
            </c:spPr>
          </c:dPt>
          <c:dPt>
            <c:idx val="194"/>
            <c:spPr>
              <a:solidFill>
                <a:srgbClr val="646464"/>
              </a:solidFill>
            </c:spPr>
          </c:dPt>
          <c:dPt>
            <c:idx val="195"/>
            <c:spPr>
              <a:solidFill>
                <a:srgbClr val="646464"/>
              </a:solidFill>
            </c:spPr>
          </c:dPt>
          <c:dPt>
            <c:idx val="196"/>
            <c:spPr>
              <a:solidFill>
                <a:srgbClr val="646464"/>
              </a:solidFill>
            </c:spPr>
          </c:dPt>
          <c:dPt>
            <c:idx val="197"/>
            <c:spPr>
              <a:solidFill>
                <a:srgbClr val="646464"/>
              </a:solidFill>
            </c:spPr>
          </c:dPt>
          <c:dPt>
            <c:idx val="198"/>
            <c:spPr>
              <a:solidFill>
                <a:srgbClr val="646464"/>
              </a:solidFill>
            </c:spPr>
          </c:dPt>
          <c:dPt>
            <c:idx val="199"/>
            <c:spPr>
              <a:solidFill>
                <a:srgbClr val="646464"/>
              </a:solidFill>
            </c:spPr>
          </c:dPt>
          <c:dPt>
            <c:idx val="200"/>
            <c:spPr>
              <a:solidFill>
                <a:srgbClr val="646464"/>
              </a:solidFill>
            </c:spPr>
          </c:dPt>
          <c:dPt>
            <c:idx val="201"/>
            <c:spPr>
              <a:solidFill>
                <a:srgbClr val="646464"/>
              </a:solidFill>
            </c:spPr>
          </c:dPt>
          <c:dPt>
            <c:idx val="202"/>
            <c:spPr>
              <a:solidFill>
                <a:srgbClr val="646464"/>
              </a:solidFill>
            </c:spPr>
          </c:dPt>
          <c:dPt>
            <c:idx val="203"/>
            <c:spPr>
              <a:solidFill>
                <a:srgbClr val="646464"/>
              </a:solidFill>
            </c:spPr>
          </c:dPt>
          <c:dPt>
            <c:idx val="204"/>
            <c:spPr>
              <a:solidFill>
                <a:srgbClr val="646464"/>
              </a:solidFill>
            </c:spPr>
          </c:dPt>
          <c:dPt>
            <c:idx val="205"/>
            <c:spPr>
              <a:solidFill>
                <a:srgbClr val="646464"/>
              </a:solidFill>
            </c:spPr>
          </c:dPt>
          <c:dPt>
            <c:idx val="206"/>
            <c:spPr>
              <a:solidFill>
                <a:srgbClr val="646464"/>
              </a:solidFill>
            </c:spPr>
          </c:dPt>
          <c:dPt>
            <c:idx val="207"/>
            <c:spPr>
              <a:solidFill>
                <a:srgbClr val="646464"/>
              </a:solidFill>
            </c:spPr>
          </c:dPt>
          <c:dPt>
            <c:idx val="208"/>
            <c:spPr>
              <a:solidFill>
                <a:srgbClr val="646464"/>
              </a:solidFill>
            </c:spPr>
          </c:dPt>
          <c:dPt>
            <c:idx val="209"/>
            <c:spPr>
              <a:solidFill>
                <a:srgbClr val="646464"/>
              </a:solidFill>
            </c:spPr>
          </c:dPt>
          <c:dPt>
            <c:idx val="210"/>
            <c:spPr>
              <a:solidFill>
                <a:srgbClr val="646464"/>
              </a:solidFill>
            </c:spPr>
          </c:dPt>
          <c:dPt>
            <c:idx val="211"/>
            <c:spPr>
              <a:solidFill>
                <a:srgbClr val="646464"/>
              </a:solidFill>
            </c:spPr>
          </c:dPt>
          <c:dPt>
            <c:idx val="212"/>
            <c:spPr>
              <a:solidFill>
                <a:srgbClr val="646464"/>
              </a:solidFill>
            </c:spPr>
          </c:dPt>
          <c:dPt>
            <c:idx val="213"/>
            <c:spPr>
              <a:solidFill>
                <a:srgbClr val="646464"/>
              </a:solidFill>
            </c:spPr>
          </c:dPt>
          <c:dPt>
            <c:idx val="214"/>
            <c:spPr>
              <a:solidFill>
                <a:srgbClr val="646464"/>
              </a:solidFill>
            </c:spPr>
          </c:dPt>
          <c:dPt>
            <c:idx val="215"/>
            <c:spPr>
              <a:solidFill>
                <a:srgbClr val="646464"/>
              </a:solidFill>
            </c:spPr>
          </c:dPt>
          <c:dPt>
            <c:idx val="216"/>
            <c:spPr>
              <a:solidFill>
                <a:srgbClr val="646464"/>
              </a:solidFill>
            </c:spPr>
          </c:dPt>
          <c:dPt>
            <c:idx val="217"/>
            <c:spPr>
              <a:solidFill>
                <a:srgbClr val="646464"/>
              </a:solidFill>
            </c:spPr>
          </c:dPt>
          <c:dPt>
            <c:idx val="218"/>
            <c:spPr>
              <a:solidFill>
                <a:srgbClr val="646464"/>
              </a:solidFill>
            </c:spPr>
          </c:dPt>
          <c:dPt>
            <c:idx val="219"/>
            <c:spPr>
              <a:solidFill>
                <a:srgbClr val="646464"/>
              </a:solidFill>
            </c:spPr>
          </c:dPt>
          <c:dPt>
            <c:idx val="220"/>
            <c:spPr>
              <a:solidFill>
                <a:srgbClr val="646464"/>
              </a:solidFill>
            </c:spPr>
          </c:dPt>
          <c:dPt>
            <c:idx val="221"/>
            <c:spPr>
              <a:solidFill>
                <a:srgbClr val="646464"/>
              </a:solidFill>
            </c:spPr>
          </c:dPt>
          <c:dPt>
            <c:idx val="222"/>
            <c:spPr>
              <a:solidFill>
                <a:srgbClr val="646464"/>
              </a:solidFill>
            </c:spPr>
          </c:dPt>
          <c:dPt>
            <c:idx val="223"/>
            <c:spPr>
              <a:solidFill>
                <a:srgbClr val="646464"/>
              </a:solidFill>
            </c:spPr>
          </c:dPt>
          <c:dPt>
            <c:idx val="224"/>
            <c:spPr>
              <a:solidFill>
                <a:srgbClr val="646464"/>
              </a:solidFill>
            </c:spPr>
          </c:dPt>
          <c:dPt>
            <c:idx val="225"/>
            <c:spPr>
              <a:solidFill>
                <a:srgbClr val="646464"/>
              </a:solidFill>
            </c:spPr>
          </c:dPt>
          <c:dPt>
            <c:idx val="226"/>
            <c:spPr>
              <a:solidFill>
                <a:srgbClr val="646464"/>
              </a:solidFill>
            </c:spPr>
          </c:dPt>
          <c:dPt>
            <c:idx val="227"/>
            <c:spPr>
              <a:solidFill>
                <a:srgbClr val="646464"/>
              </a:solidFill>
            </c:spPr>
          </c:dPt>
          <c:dPt>
            <c:idx val="228"/>
            <c:spPr>
              <a:solidFill>
                <a:srgbClr val="646464"/>
              </a:solidFill>
            </c:spPr>
          </c:dPt>
          <c:dPt>
            <c:idx val="229"/>
            <c:spPr>
              <a:solidFill>
                <a:srgbClr val="646464"/>
              </a:solidFill>
            </c:spPr>
          </c:dPt>
          <c:dPt>
            <c:idx val="230"/>
            <c:spPr>
              <a:solidFill>
                <a:srgbClr val="646464"/>
              </a:solidFill>
            </c:spPr>
          </c:dPt>
          <c:dPt>
            <c:idx val="231"/>
            <c:spPr>
              <a:solidFill>
                <a:srgbClr val="646464"/>
              </a:solidFill>
            </c:spPr>
          </c:dPt>
          <c:dPt>
            <c:idx val="232"/>
            <c:spPr>
              <a:solidFill>
                <a:srgbClr val="646464"/>
              </a:solidFill>
            </c:spPr>
          </c:dPt>
          <c:dPt>
            <c:idx val="233"/>
            <c:spPr>
              <a:solidFill>
                <a:srgbClr val="646464"/>
              </a:solidFill>
            </c:spPr>
          </c:dPt>
          <c:dPt>
            <c:idx val="234"/>
            <c:spPr>
              <a:solidFill>
                <a:srgbClr val="646464"/>
              </a:solidFill>
            </c:spPr>
          </c:dPt>
          <c:dPt>
            <c:idx val="235"/>
            <c:spPr>
              <a:solidFill>
                <a:srgbClr val="646464"/>
              </a:solidFill>
            </c:spPr>
          </c:dPt>
          <c:dPt>
            <c:idx val="236"/>
            <c:spPr>
              <a:solidFill>
                <a:srgbClr val="646464"/>
              </a:solidFill>
            </c:spPr>
          </c:dPt>
          <c:dPt>
            <c:idx val="237"/>
            <c:spPr>
              <a:solidFill>
                <a:srgbClr val="646464"/>
              </a:solidFill>
            </c:spPr>
          </c:dPt>
          <c:dPt>
            <c:idx val="238"/>
            <c:spPr>
              <a:solidFill>
                <a:srgbClr val="646464"/>
              </a:solidFill>
            </c:spPr>
          </c:dPt>
          <c:dPt>
            <c:idx val="239"/>
            <c:spPr>
              <a:solidFill>
                <a:srgbClr val="646464"/>
              </a:solidFill>
            </c:spPr>
          </c:dPt>
          <c:dPt>
            <c:idx val="240"/>
            <c:spPr>
              <a:solidFill>
                <a:srgbClr val="646464"/>
              </a:solidFill>
            </c:spPr>
          </c:dPt>
          <c:dPt>
            <c:idx val="241"/>
            <c:spPr>
              <a:solidFill>
                <a:srgbClr val="646464"/>
              </a:solidFill>
            </c:spPr>
          </c:dPt>
          <c:dPt>
            <c:idx val="242"/>
            <c:spPr>
              <a:solidFill>
                <a:srgbClr val="646464"/>
              </a:solidFill>
            </c:spPr>
          </c:dPt>
          <c:dPt>
            <c:idx val="243"/>
            <c:spPr>
              <a:solidFill>
                <a:srgbClr val="646464"/>
              </a:solidFill>
            </c:spPr>
          </c:dPt>
          <c:dPt>
            <c:idx val="244"/>
            <c:spPr>
              <a:solidFill>
                <a:srgbClr val="646464"/>
              </a:solidFill>
            </c:spPr>
          </c:dPt>
          <c:dPt>
            <c:idx val="245"/>
            <c:spPr>
              <a:solidFill>
                <a:srgbClr val="646464"/>
              </a:solidFill>
            </c:spPr>
          </c:dPt>
          <c:dPt>
            <c:idx val="246"/>
            <c:spPr>
              <a:solidFill>
                <a:srgbClr val="646464"/>
              </a:solidFill>
            </c:spPr>
          </c:dPt>
          <c:dPt>
            <c:idx val="247"/>
            <c:spPr>
              <a:solidFill>
                <a:srgbClr val="646464"/>
              </a:solidFill>
            </c:spPr>
          </c:dPt>
          <c:dPt>
            <c:idx val="248"/>
            <c:spPr>
              <a:solidFill>
                <a:srgbClr val="646464"/>
              </a:solidFill>
            </c:spPr>
          </c:dPt>
          <c:dPt>
            <c:idx val="249"/>
            <c:spPr>
              <a:solidFill>
                <a:srgbClr val="646464"/>
              </a:solidFill>
            </c:spPr>
          </c:dPt>
          <c:dPt>
            <c:idx val="250"/>
            <c:spPr>
              <a:solidFill>
                <a:srgbClr val="646464"/>
              </a:solidFill>
            </c:spPr>
          </c:dPt>
          <c:dPt>
            <c:idx val="251"/>
            <c:spPr>
              <a:solidFill>
                <a:srgbClr val="646464"/>
              </a:solidFill>
            </c:spPr>
          </c:dPt>
          <c:dPt>
            <c:idx val="252"/>
            <c:spPr>
              <a:solidFill>
                <a:srgbClr val="646464"/>
              </a:solidFill>
            </c:spPr>
          </c:dPt>
          <c:dPt>
            <c:idx val="253"/>
            <c:spPr>
              <a:solidFill>
                <a:srgbClr val="646464"/>
              </a:solidFill>
            </c:spPr>
          </c:dPt>
          <c:dPt>
            <c:idx val="254"/>
            <c:spPr>
              <a:solidFill>
                <a:srgbClr val="646464"/>
              </a:solidFill>
            </c:spPr>
          </c:dPt>
          <c:dPt>
            <c:idx val="255"/>
            <c:spPr>
              <a:solidFill>
                <a:srgbClr val="646464"/>
              </a:solidFill>
            </c:spPr>
          </c:dPt>
          <c:dPt>
            <c:idx val="256"/>
            <c:spPr>
              <a:solidFill>
                <a:srgbClr val="646464"/>
              </a:solidFill>
            </c:spPr>
          </c:dPt>
          <c:dPt>
            <c:idx val="257"/>
            <c:spPr>
              <a:solidFill>
                <a:srgbClr val="646464"/>
              </a:solidFill>
            </c:spPr>
          </c:dPt>
          <c:dPt>
            <c:idx val="258"/>
            <c:spPr>
              <a:solidFill>
                <a:srgbClr val="646464"/>
              </a:solidFill>
            </c:spPr>
          </c:dPt>
          <c:dPt>
            <c:idx val="259"/>
            <c:spPr>
              <a:solidFill>
                <a:srgbClr val="646464"/>
              </a:solidFill>
            </c:spPr>
          </c:dPt>
          <c:dPt>
            <c:idx val="260"/>
            <c:spPr>
              <a:solidFill>
                <a:srgbClr val="646464"/>
              </a:solidFill>
            </c:spPr>
          </c:dPt>
          <c:dPt>
            <c:idx val="261"/>
            <c:spPr>
              <a:solidFill>
                <a:srgbClr val="646464"/>
              </a:solidFill>
            </c:spPr>
          </c:dPt>
          <c:dPt>
            <c:idx val="262"/>
            <c:spPr>
              <a:solidFill>
                <a:srgbClr val="646464"/>
              </a:solidFill>
            </c:spPr>
          </c:dPt>
          <c:dPt>
            <c:idx val="263"/>
            <c:spPr>
              <a:solidFill>
                <a:srgbClr val="646464"/>
              </a:solidFill>
            </c:spPr>
          </c:dPt>
          <c:dPt>
            <c:idx val="264"/>
            <c:spPr>
              <a:solidFill>
                <a:srgbClr val="646464"/>
              </a:solidFill>
            </c:spPr>
          </c:dPt>
          <c:dPt>
            <c:idx val="265"/>
            <c:spPr>
              <a:solidFill>
                <a:srgbClr val="646464"/>
              </a:solidFill>
            </c:spPr>
          </c:dPt>
          <c:dPt>
            <c:idx val="266"/>
            <c:spPr>
              <a:solidFill>
                <a:srgbClr val="646464"/>
              </a:solidFill>
            </c:spPr>
          </c:dPt>
          <c:dPt>
            <c:idx val="267"/>
            <c:spPr>
              <a:solidFill>
                <a:srgbClr val="646464"/>
              </a:solidFill>
            </c:spPr>
          </c:dPt>
          <c:dPt>
            <c:idx val="268"/>
            <c:spPr>
              <a:solidFill>
                <a:srgbClr val="646464"/>
              </a:solidFill>
            </c:spPr>
          </c:dPt>
          <c:dPt>
            <c:idx val="269"/>
            <c:spPr>
              <a:solidFill>
                <a:srgbClr val="646464"/>
              </a:solidFill>
            </c:spPr>
          </c:dPt>
          <c:dPt>
            <c:idx val="270"/>
            <c:spPr>
              <a:solidFill>
                <a:srgbClr val="646464"/>
              </a:solidFill>
            </c:spPr>
          </c:dPt>
          <c:dPt>
            <c:idx val="271"/>
            <c:spPr>
              <a:solidFill>
                <a:srgbClr val="646464"/>
              </a:solidFill>
            </c:spPr>
          </c:dPt>
          <c:dPt>
            <c:idx val="272"/>
            <c:spPr>
              <a:solidFill>
                <a:srgbClr val="646464"/>
              </a:solidFill>
            </c:spPr>
          </c:dPt>
          <c:dPt>
            <c:idx val="273"/>
            <c:spPr>
              <a:solidFill>
                <a:srgbClr val="646464"/>
              </a:solidFill>
            </c:spPr>
          </c:dPt>
          <c:dPt>
            <c:idx val="274"/>
            <c:spPr>
              <a:solidFill>
                <a:srgbClr val="646464"/>
              </a:solidFill>
            </c:spPr>
          </c:dPt>
          <c:dPt>
            <c:idx val="275"/>
            <c:spPr>
              <a:solidFill>
                <a:srgbClr val="646464"/>
              </a:solidFill>
            </c:spPr>
          </c:dPt>
          <c:dPt>
            <c:idx val="276"/>
            <c:spPr>
              <a:solidFill>
                <a:srgbClr val="646464"/>
              </a:solidFill>
            </c:spPr>
          </c:dPt>
          <c:dPt>
            <c:idx val="277"/>
            <c:spPr>
              <a:solidFill>
                <a:srgbClr val="646464"/>
              </a:solidFill>
            </c:spPr>
          </c:dPt>
          <c:dPt>
            <c:idx val="278"/>
            <c:spPr>
              <a:solidFill>
                <a:srgbClr val="646464"/>
              </a:solidFill>
            </c:spPr>
          </c:dPt>
          <c:dPt>
            <c:idx val="279"/>
            <c:spPr>
              <a:solidFill>
                <a:srgbClr val="646464"/>
              </a:solidFill>
            </c:spPr>
          </c:dPt>
          <c:dPt>
            <c:idx val="280"/>
            <c:spPr>
              <a:solidFill>
                <a:srgbClr val="646464"/>
              </a:solidFill>
            </c:spPr>
          </c:dPt>
          <c:dPt>
            <c:idx val="281"/>
            <c:spPr>
              <a:solidFill>
                <a:srgbClr val="646464"/>
              </a:solidFill>
            </c:spPr>
          </c:dPt>
          <c:dPt>
            <c:idx val="282"/>
            <c:spPr>
              <a:solidFill>
                <a:srgbClr val="646464"/>
              </a:solidFill>
            </c:spPr>
          </c:dPt>
          <c:dPt>
            <c:idx val="283"/>
            <c:spPr>
              <a:solidFill>
                <a:srgbClr val="646464"/>
              </a:solidFill>
            </c:spPr>
          </c:dPt>
          <c:dPt>
            <c:idx val="284"/>
            <c:spPr>
              <a:solidFill>
                <a:srgbClr val="646464"/>
              </a:solidFill>
            </c:spPr>
          </c:dPt>
          <c:dPt>
            <c:idx val="285"/>
            <c:spPr>
              <a:solidFill>
                <a:srgbClr val="646464"/>
              </a:solidFill>
            </c:spPr>
          </c:dPt>
          <c:dPt>
            <c:idx val="286"/>
            <c:spPr>
              <a:solidFill>
                <a:srgbClr val="646464"/>
              </a:solidFill>
            </c:spPr>
          </c:dPt>
          <c:dPt>
            <c:idx val="287"/>
            <c:spPr>
              <a:solidFill>
                <a:srgbClr val="646464"/>
              </a:solidFill>
            </c:spPr>
          </c:dPt>
          <c:dPt>
            <c:idx val="288"/>
            <c:spPr>
              <a:solidFill>
                <a:srgbClr val="646464"/>
              </a:solidFill>
            </c:spPr>
          </c:dPt>
          <c:dPt>
            <c:idx val="289"/>
            <c:spPr>
              <a:solidFill>
                <a:srgbClr val="646464"/>
              </a:solidFill>
            </c:spPr>
          </c:dPt>
          <c:dPt>
            <c:idx val="290"/>
            <c:spPr>
              <a:solidFill>
                <a:srgbClr val="646464"/>
              </a:solidFill>
            </c:spPr>
          </c:dPt>
          <c:dPt>
            <c:idx val="291"/>
            <c:spPr>
              <a:solidFill>
                <a:srgbClr val="646464"/>
              </a:solidFill>
            </c:spPr>
          </c:dPt>
          <c:dPt>
            <c:idx val="292"/>
            <c:spPr>
              <a:solidFill>
                <a:srgbClr val="646464"/>
              </a:solidFill>
            </c:spPr>
          </c:dPt>
          <c:dPt>
            <c:idx val="293"/>
            <c:spPr>
              <a:solidFill>
                <a:srgbClr val="646464"/>
              </a:solidFill>
            </c:spPr>
          </c:dPt>
          <c:dPt>
            <c:idx val="294"/>
            <c:spPr>
              <a:solidFill>
                <a:srgbClr val="646464"/>
              </a:solidFill>
            </c:spPr>
          </c:dPt>
          <c:dPt>
            <c:idx val="295"/>
            <c:spPr>
              <a:solidFill>
                <a:srgbClr val="646464"/>
              </a:solidFill>
            </c:spPr>
          </c:dPt>
          <c:dPt>
            <c:idx val="296"/>
            <c:spPr>
              <a:solidFill>
                <a:srgbClr val="646464"/>
              </a:solidFill>
            </c:spPr>
          </c:dPt>
          <c:dPt>
            <c:idx val="297"/>
            <c:spPr>
              <a:solidFill>
                <a:srgbClr val="646464"/>
              </a:solidFill>
            </c:spPr>
          </c:dPt>
          <c:dPt>
            <c:idx val="298"/>
            <c:spPr>
              <a:solidFill>
                <a:srgbClr val="646464"/>
              </a:solidFill>
            </c:spPr>
          </c:dPt>
          <c:dPt>
            <c:idx val="299"/>
            <c:spPr>
              <a:solidFill>
                <a:srgbClr val="646464"/>
              </a:solidFill>
            </c:spPr>
          </c:dPt>
          <c:dPt>
            <c:idx val="300"/>
            <c:spPr>
              <a:solidFill>
                <a:srgbClr val="646464"/>
              </a:solidFill>
            </c:spPr>
          </c:dPt>
          <c:dPt>
            <c:idx val="301"/>
            <c:spPr>
              <a:solidFill>
                <a:srgbClr val="646464"/>
              </a:solidFill>
            </c:spPr>
          </c:dPt>
          <c:dPt>
            <c:idx val="302"/>
            <c:spPr>
              <a:solidFill>
                <a:srgbClr val="646464"/>
              </a:solidFill>
            </c:spPr>
          </c:dPt>
          <c:dPt>
            <c:idx val="303"/>
            <c:spPr>
              <a:solidFill>
                <a:srgbClr val="646464"/>
              </a:solidFill>
            </c:spPr>
          </c:dPt>
          <c:dPt>
            <c:idx val="304"/>
            <c:spPr>
              <a:solidFill>
                <a:srgbClr val="646464"/>
              </a:solidFill>
            </c:spPr>
          </c:dPt>
          <c:dPt>
            <c:idx val="305"/>
            <c:spPr>
              <a:solidFill>
                <a:srgbClr val="646464"/>
              </a:solidFill>
            </c:spPr>
          </c:dPt>
          <c:dPt>
            <c:idx val="306"/>
            <c:spPr>
              <a:solidFill>
                <a:srgbClr val="646464"/>
              </a:solidFill>
            </c:spPr>
          </c:dPt>
          <c:dPt>
            <c:idx val="307"/>
            <c:spPr>
              <a:solidFill>
                <a:srgbClr val="646464"/>
              </a:solidFill>
            </c:spPr>
          </c:dPt>
          <c:dPt>
            <c:idx val="308"/>
            <c:spPr>
              <a:solidFill>
                <a:srgbClr val="646464"/>
              </a:solidFill>
            </c:spPr>
          </c:dPt>
          <c:dPt>
            <c:idx val="309"/>
            <c:spPr>
              <a:solidFill>
                <a:srgbClr val="646464"/>
              </a:solidFill>
            </c:spPr>
          </c:dPt>
          <c:dPt>
            <c:idx val="310"/>
            <c:spPr>
              <a:solidFill>
                <a:srgbClr val="646464"/>
              </a:solidFill>
            </c:spPr>
          </c:dPt>
          <c:dPt>
            <c:idx val="311"/>
            <c:spPr>
              <a:solidFill>
                <a:srgbClr val="646464"/>
              </a:solidFill>
            </c:spPr>
          </c:dPt>
          <c:dPt>
            <c:idx val="312"/>
            <c:spPr>
              <a:solidFill>
                <a:srgbClr val="646464"/>
              </a:solidFill>
            </c:spPr>
          </c:dPt>
          <c:dPt>
            <c:idx val="313"/>
            <c:spPr>
              <a:solidFill>
                <a:srgbClr val="646464"/>
              </a:solidFill>
            </c:spPr>
          </c:dPt>
          <c:dPt>
            <c:idx val="314"/>
            <c:spPr>
              <a:solidFill>
                <a:srgbClr val="646464"/>
              </a:solidFill>
            </c:spPr>
          </c:dPt>
          <c:dPt>
            <c:idx val="315"/>
            <c:spPr>
              <a:solidFill>
                <a:srgbClr val="646464"/>
              </a:solidFill>
            </c:spPr>
          </c:dPt>
          <c:dPt>
            <c:idx val="316"/>
            <c:spPr>
              <a:solidFill>
                <a:srgbClr val="646464"/>
              </a:solidFill>
            </c:spPr>
          </c:dPt>
          <c:dPt>
            <c:idx val="317"/>
            <c:spPr>
              <a:solidFill>
                <a:srgbClr val="646464"/>
              </a:solidFill>
            </c:spPr>
          </c:dPt>
          <c:dPt>
            <c:idx val="318"/>
            <c:spPr>
              <a:solidFill>
                <a:srgbClr val="646464"/>
              </a:solidFill>
            </c:spPr>
          </c:dPt>
          <c:dPt>
            <c:idx val="319"/>
            <c:spPr>
              <a:solidFill>
                <a:srgbClr val="646464"/>
              </a:solidFill>
            </c:spPr>
          </c:dPt>
          <c:dPt>
            <c:idx val="320"/>
            <c:spPr>
              <a:solidFill>
                <a:srgbClr val="646464"/>
              </a:solidFill>
            </c:spPr>
          </c:dPt>
          <c:dPt>
            <c:idx val="321"/>
            <c:spPr>
              <a:solidFill>
                <a:srgbClr val="646464"/>
              </a:solidFill>
            </c:spPr>
          </c:dPt>
          <c:dPt>
            <c:idx val="322"/>
            <c:spPr>
              <a:solidFill>
                <a:srgbClr val="646464"/>
              </a:solidFill>
            </c:spPr>
          </c:dPt>
          <c:dPt>
            <c:idx val="323"/>
            <c:spPr>
              <a:solidFill>
                <a:srgbClr val="646464"/>
              </a:solidFill>
            </c:spPr>
          </c:dPt>
          <c:dPt>
            <c:idx val="324"/>
            <c:spPr>
              <a:solidFill>
                <a:srgbClr val="646464"/>
              </a:solidFill>
            </c:spPr>
          </c:dPt>
          <c:dPt>
            <c:idx val="325"/>
            <c:spPr>
              <a:solidFill>
                <a:srgbClr val="646464"/>
              </a:solidFill>
            </c:spPr>
          </c:dPt>
          <c:dPt>
            <c:idx val="326"/>
            <c:spPr>
              <a:solidFill>
                <a:srgbClr val="646464"/>
              </a:solidFill>
            </c:spPr>
          </c:dPt>
          <c:dPt>
            <c:idx val="327"/>
            <c:spPr>
              <a:solidFill>
                <a:srgbClr val="646464"/>
              </a:solidFill>
            </c:spPr>
          </c:dPt>
          <c:dPt>
            <c:idx val="328"/>
            <c:spPr>
              <a:solidFill>
                <a:srgbClr val="646464"/>
              </a:solidFill>
            </c:spPr>
          </c:dPt>
          <c:dPt>
            <c:idx val="329"/>
            <c:spPr>
              <a:solidFill>
                <a:srgbClr val="646464"/>
              </a:solidFill>
            </c:spPr>
          </c:dPt>
          <c:dPt>
            <c:idx val="330"/>
            <c:spPr>
              <a:solidFill>
                <a:srgbClr val="646464"/>
              </a:solidFill>
            </c:spPr>
          </c:dPt>
          <c:dPt>
            <c:idx val="331"/>
            <c:spPr>
              <a:solidFill>
                <a:srgbClr val="646464"/>
              </a:solidFill>
            </c:spPr>
          </c:dPt>
          <c:dPt>
            <c:idx val="332"/>
            <c:spPr>
              <a:solidFill>
                <a:srgbClr val="646464"/>
              </a:solidFill>
            </c:spPr>
          </c:dPt>
          <c:dPt>
            <c:idx val="333"/>
            <c:spPr>
              <a:solidFill>
                <a:srgbClr val="646464"/>
              </a:solidFill>
            </c:spPr>
          </c:dPt>
          <c:dPt>
            <c:idx val="334"/>
            <c:spPr>
              <a:solidFill>
                <a:srgbClr val="646464"/>
              </a:solidFill>
            </c:spPr>
          </c:dPt>
          <c:dPt>
            <c:idx val="335"/>
            <c:spPr>
              <a:solidFill>
                <a:srgbClr val="646464"/>
              </a:solidFill>
            </c:spPr>
          </c:dPt>
          <c:dPt>
            <c:idx val="336"/>
            <c:spPr>
              <a:solidFill>
                <a:srgbClr val="646464"/>
              </a:solidFill>
            </c:spPr>
          </c:dPt>
          <c:dPt>
            <c:idx val="337"/>
            <c:spPr>
              <a:solidFill>
                <a:srgbClr val="646464"/>
              </a:solidFill>
            </c:spPr>
          </c:dPt>
          <c:dPt>
            <c:idx val="338"/>
            <c:spPr>
              <a:solidFill>
                <a:srgbClr val="646464"/>
              </a:solidFill>
            </c:spPr>
          </c:dPt>
          <c:dPt>
            <c:idx val="339"/>
            <c:spPr>
              <a:solidFill>
                <a:srgbClr val="646464"/>
              </a:solidFill>
            </c:spPr>
          </c:dPt>
          <c:dPt>
            <c:idx val="340"/>
            <c:spPr>
              <a:solidFill>
                <a:srgbClr val="646464"/>
              </a:solidFill>
            </c:spPr>
          </c:dPt>
          <c:dPt>
            <c:idx val="341"/>
            <c:spPr>
              <a:solidFill>
                <a:srgbClr val="646464"/>
              </a:solidFill>
            </c:spPr>
          </c:dPt>
          <c:dPt>
            <c:idx val="342"/>
            <c:spPr>
              <a:solidFill>
                <a:srgbClr val="646464"/>
              </a:solidFill>
            </c:spPr>
          </c:dPt>
          <c:dPt>
            <c:idx val="343"/>
            <c:spPr>
              <a:solidFill>
                <a:srgbClr val="646464"/>
              </a:solidFill>
            </c:spPr>
          </c:dPt>
          <c:dPt>
            <c:idx val="344"/>
            <c:spPr>
              <a:solidFill>
                <a:srgbClr val="646464"/>
              </a:solidFill>
            </c:spPr>
          </c:dPt>
          <c:dPt>
            <c:idx val="345"/>
            <c:spPr>
              <a:solidFill>
                <a:srgbClr val="646464"/>
              </a:solidFill>
            </c:spPr>
          </c:dPt>
          <c:dPt>
            <c:idx val="346"/>
            <c:spPr>
              <a:solidFill>
                <a:srgbClr val="646464"/>
              </a:solidFill>
            </c:spPr>
          </c:dPt>
          <c:dPt>
            <c:idx val="347"/>
            <c:spPr>
              <a:solidFill>
                <a:srgbClr val="646464"/>
              </a:solidFill>
            </c:spPr>
          </c:dPt>
          <c:dPt>
            <c:idx val="348"/>
            <c:spPr>
              <a:solidFill>
                <a:srgbClr val="646464"/>
              </a:solidFill>
            </c:spPr>
          </c:dPt>
          <c:dPt>
            <c:idx val="349"/>
            <c:spPr>
              <a:solidFill>
                <a:srgbClr val="646464"/>
              </a:solidFill>
            </c:spPr>
          </c:dPt>
          <c:dPt>
            <c:idx val="350"/>
            <c:spPr>
              <a:solidFill>
                <a:srgbClr val="646464"/>
              </a:solidFill>
            </c:spPr>
          </c:dPt>
          <c:dPt>
            <c:idx val="351"/>
            <c:spPr>
              <a:solidFill>
                <a:srgbClr val="646464"/>
              </a:solidFill>
            </c:spPr>
          </c:dPt>
          <c:dPt>
            <c:idx val="352"/>
            <c:spPr>
              <a:solidFill>
                <a:srgbClr val="646464"/>
              </a:solidFill>
            </c:spPr>
          </c:dPt>
          <c:dPt>
            <c:idx val="353"/>
            <c:spPr>
              <a:solidFill>
                <a:srgbClr val="646464"/>
              </a:solidFill>
            </c:spPr>
          </c:dPt>
          <c:dPt>
            <c:idx val="354"/>
            <c:spPr>
              <a:solidFill>
                <a:srgbClr val="646464"/>
              </a:solidFill>
            </c:spPr>
          </c:dPt>
          <c:dPt>
            <c:idx val="355"/>
            <c:spPr>
              <a:solidFill>
                <a:srgbClr val="646464"/>
              </a:solidFill>
            </c:spPr>
          </c:dPt>
          <c:dPt>
            <c:idx val="356"/>
            <c:spPr>
              <a:solidFill>
                <a:srgbClr val="646464"/>
              </a:solidFill>
            </c:spPr>
          </c:dPt>
          <c:dPt>
            <c:idx val="357"/>
            <c:spPr>
              <a:solidFill>
                <a:srgbClr val="646464"/>
              </a:solidFill>
            </c:spPr>
          </c:dPt>
          <c:dPt>
            <c:idx val="358"/>
            <c:spPr>
              <a:solidFill>
                <a:srgbClr val="646464"/>
              </a:solidFill>
            </c:spPr>
          </c:dPt>
          <c:dPt>
            <c:idx val="359"/>
            <c:spPr>
              <a:solidFill>
                <a:srgbClr val="646464"/>
              </a:solidFill>
            </c:spPr>
          </c:dPt>
          <c:dPt>
            <c:idx val="360"/>
            <c:spPr>
              <a:solidFill>
                <a:srgbClr val="646464"/>
              </a:solidFill>
            </c:spPr>
          </c:dPt>
          <c:dPt>
            <c:idx val="361"/>
            <c:spPr>
              <a:solidFill>
                <a:srgbClr val="646464"/>
              </a:solidFill>
            </c:spPr>
          </c:dPt>
          <c:dPt>
            <c:idx val="362"/>
            <c:spPr>
              <a:solidFill>
                <a:srgbClr val="646464"/>
              </a:solidFill>
            </c:spPr>
          </c:dPt>
          <c:dPt>
            <c:idx val="363"/>
            <c:spPr>
              <a:solidFill>
                <a:srgbClr val="646464"/>
              </a:solidFill>
            </c:spPr>
          </c:dPt>
          <c:dPt>
            <c:idx val="364"/>
            <c:spPr>
              <a:solidFill>
                <a:srgbClr val="646464"/>
              </a:solidFill>
            </c:spPr>
          </c:dPt>
          <c:dPt>
            <c:idx val="365"/>
            <c:spPr>
              <a:solidFill>
                <a:srgbClr val="646464"/>
              </a:solidFill>
            </c:spPr>
          </c:dPt>
          <c:dPt>
            <c:idx val="366"/>
            <c:spPr>
              <a:solidFill>
                <a:srgbClr val="646464"/>
              </a:solidFill>
            </c:spPr>
          </c:dPt>
          <c:dPt>
            <c:idx val="367"/>
            <c:spPr>
              <a:solidFill>
                <a:srgbClr val="646464"/>
              </a:solidFill>
            </c:spPr>
          </c:dPt>
          <c:dPt>
            <c:idx val="368"/>
            <c:spPr>
              <a:solidFill>
                <a:srgbClr val="646464"/>
              </a:solidFill>
            </c:spPr>
          </c:dPt>
          <c:dPt>
            <c:idx val="369"/>
            <c:spPr>
              <a:solidFill>
                <a:srgbClr val="646464"/>
              </a:solidFill>
            </c:spPr>
          </c:dPt>
          <c:dPt>
            <c:idx val="370"/>
            <c:spPr>
              <a:solidFill>
                <a:srgbClr val="646464"/>
              </a:solidFill>
            </c:spPr>
          </c:dPt>
          <c:dPt>
            <c:idx val="371"/>
            <c:spPr>
              <a:solidFill>
                <a:srgbClr val="646464"/>
              </a:solidFill>
            </c:spPr>
          </c:dPt>
          <c:dPt>
            <c:idx val="372"/>
            <c:spPr>
              <a:solidFill>
                <a:srgbClr val="646464"/>
              </a:solidFill>
            </c:spPr>
          </c:dPt>
          <c:dPt>
            <c:idx val="373"/>
            <c:spPr>
              <a:solidFill>
                <a:srgbClr val="646464"/>
              </a:solidFill>
            </c:spPr>
          </c:dPt>
          <c:dPt>
            <c:idx val="374"/>
            <c:spPr>
              <a:solidFill>
                <a:srgbClr val="646464"/>
              </a:solidFill>
            </c:spPr>
          </c:dPt>
          <c:dPt>
            <c:idx val="375"/>
            <c:spPr>
              <a:solidFill>
                <a:srgbClr val="646464"/>
              </a:solidFill>
            </c:spPr>
          </c:dPt>
          <c:dPt>
            <c:idx val="376"/>
            <c:spPr>
              <a:solidFill>
                <a:srgbClr val="646464"/>
              </a:solidFill>
            </c:spPr>
          </c:dPt>
          <c:dPt>
            <c:idx val="377"/>
            <c:spPr>
              <a:solidFill>
                <a:srgbClr val="646464"/>
              </a:solidFill>
            </c:spPr>
          </c:dPt>
          <c:dPt>
            <c:idx val="378"/>
            <c:spPr>
              <a:solidFill>
                <a:srgbClr val="646464"/>
              </a:solidFill>
            </c:spPr>
          </c:dPt>
          <c:dPt>
            <c:idx val="379"/>
            <c:spPr>
              <a:solidFill>
                <a:srgbClr val="646464"/>
              </a:solidFill>
            </c:spPr>
          </c:dPt>
          <c:dPt>
            <c:idx val="380"/>
            <c:spPr>
              <a:solidFill>
                <a:srgbClr val="646464"/>
              </a:solidFill>
            </c:spPr>
          </c:dPt>
          <c:dPt>
            <c:idx val="381"/>
            <c:spPr>
              <a:solidFill>
                <a:srgbClr val="646464"/>
              </a:solidFill>
            </c:spPr>
          </c:dPt>
          <c:dPt>
            <c:idx val="382"/>
            <c:spPr>
              <a:solidFill>
                <a:srgbClr val="646464"/>
              </a:solidFill>
            </c:spPr>
          </c:dPt>
          <c:dPt>
            <c:idx val="383"/>
            <c:spPr>
              <a:solidFill>
                <a:srgbClr val="646464"/>
              </a:solidFill>
            </c:spPr>
          </c:dPt>
          <c:dPt>
            <c:idx val="384"/>
            <c:spPr>
              <a:solidFill>
                <a:srgbClr val="646464"/>
              </a:solidFill>
            </c:spPr>
          </c:dPt>
          <c:dPt>
            <c:idx val="385"/>
            <c:spPr>
              <a:solidFill>
                <a:srgbClr val="646464"/>
              </a:solidFill>
            </c:spPr>
          </c:dPt>
          <c:dPt>
            <c:idx val="386"/>
            <c:spPr>
              <a:solidFill>
                <a:srgbClr val="646464"/>
              </a:solidFill>
            </c:spPr>
          </c:dPt>
          <c:dPt>
            <c:idx val="387"/>
            <c:spPr>
              <a:solidFill>
                <a:srgbClr val="646464"/>
              </a:solidFill>
            </c:spPr>
          </c:dPt>
          <c:dPt>
            <c:idx val="388"/>
            <c:spPr>
              <a:solidFill>
                <a:srgbClr val="646464"/>
              </a:solidFill>
            </c:spPr>
          </c:dPt>
          <c:dPt>
            <c:idx val="389"/>
            <c:spPr>
              <a:solidFill>
                <a:srgbClr val="646464"/>
              </a:solidFill>
            </c:spPr>
          </c:dPt>
          <c:dPt>
            <c:idx val="390"/>
            <c:spPr>
              <a:solidFill>
                <a:srgbClr val="646464"/>
              </a:solidFill>
            </c:spPr>
          </c:dPt>
          <c:dPt>
            <c:idx val="391"/>
            <c:spPr>
              <a:solidFill>
                <a:srgbClr val="646464"/>
              </a:solidFill>
            </c:spPr>
          </c:dPt>
          <c:dPt>
            <c:idx val="392"/>
            <c:spPr>
              <a:solidFill>
                <a:srgbClr val="646464"/>
              </a:solidFill>
            </c:spPr>
          </c:dPt>
          <c:dPt>
            <c:idx val="393"/>
            <c:spPr>
              <a:solidFill>
                <a:srgbClr val="646464"/>
              </a:solidFill>
            </c:spPr>
          </c:dPt>
          <c:dPt>
            <c:idx val="394"/>
            <c:spPr>
              <a:solidFill>
                <a:srgbClr val="646464"/>
              </a:solidFill>
            </c:spPr>
          </c:dPt>
          <c:dPt>
            <c:idx val="395"/>
            <c:spPr>
              <a:solidFill>
                <a:srgbClr val="646464"/>
              </a:solidFill>
            </c:spPr>
          </c:dPt>
          <c:dPt>
            <c:idx val="396"/>
            <c:spPr>
              <a:solidFill>
                <a:srgbClr val="646464"/>
              </a:solidFill>
            </c:spPr>
          </c:dPt>
          <c:dPt>
            <c:idx val="397"/>
            <c:spPr>
              <a:solidFill>
                <a:srgbClr val="646464"/>
              </a:solidFill>
            </c:spPr>
          </c:dPt>
          <c:dPt>
            <c:idx val="398"/>
            <c:spPr>
              <a:solidFill>
                <a:srgbClr val="646464"/>
              </a:solidFill>
            </c:spPr>
          </c:dPt>
          <c:dPt>
            <c:idx val="399"/>
            <c:spPr>
              <a:solidFill>
                <a:srgbClr val="646464"/>
              </a:solidFill>
            </c:spPr>
          </c:dPt>
          <c:dPt>
            <c:idx val="400"/>
            <c:spPr>
              <a:solidFill>
                <a:srgbClr val="646464"/>
              </a:solidFill>
            </c:spPr>
          </c:dPt>
          <c:dPt>
            <c:idx val="401"/>
            <c:spPr>
              <a:solidFill>
                <a:srgbClr val="646464"/>
              </a:solidFill>
            </c:spPr>
          </c:dPt>
          <c:dPt>
            <c:idx val="402"/>
            <c:spPr>
              <a:solidFill>
                <a:srgbClr val="646464"/>
              </a:solidFill>
            </c:spPr>
          </c:dPt>
          <c:dPt>
            <c:idx val="403"/>
            <c:spPr>
              <a:solidFill>
                <a:srgbClr val="646464"/>
              </a:solidFill>
            </c:spPr>
          </c:dPt>
          <c:dPt>
            <c:idx val="404"/>
            <c:spPr>
              <a:solidFill>
                <a:srgbClr val="646464"/>
              </a:solidFill>
            </c:spPr>
          </c:dPt>
          <c:dPt>
            <c:idx val="405"/>
            <c:spPr>
              <a:solidFill>
                <a:srgbClr val="646464"/>
              </a:solidFill>
            </c:spPr>
          </c:dPt>
          <c:dPt>
            <c:idx val="406"/>
            <c:spPr>
              <a:solidFill>
                <a:srgbClr val="646464"/>
              </a:solidFill>
            </c:spPr>
          </c:dPt>
          <c:dPt>
            <c:idx val="407"/>
            <c:spPr>
              <a:solidFill>
                <a:srgbClr val="646464"/>
              </a:solidFill>
            </c:spPr>
          </c:dPt>
          <c:dPt>
            <c:idx val="408"/>
            <c:spPr>
              <a:solidFill>
                <a:srgbClr val="646464"/>
              </a:solidFill>
            </c:spPr>
          </c:dPt>
          <c:dPt>
            <c:idx val="409"/>
            <c:spPr>
              <a:solidFill>
                <a:srgbClr val="646464"/>
              </a:solidFill>
            </c:spPr>
          </c:dPt>
          <c:dPt>
            <c:idx val="410"/>
            <c:spPr>
              <a:solidFill>
                <a:srgbClr val="646464"/>
              </a:solidFill>
            </c:spPr>
          </c:dPt>
          <c:dPt>
            <c:idx val="411"/>
            <c:spPr>
              <a:solidFill>
                <a:srgbClr val="646464"/>
              </a:solidFill>
            </c:spPr>
          </c:dPt>
          <c:dPt>
            <c:idx val="412"/>
            <c:spPr>
              <a:solidFill>
                <a:srgbClr val="646464"/>
              </a:solidFill>
            </c:spPr>
          </c:dPt>
          <c:dPt>
            <c:idx val="413"/>
            <c:spPr>
              <a:solidFill>
                <a:srgbClr val="646464"/>
              </a:solidFill>
            </c:spPr>
          </c:dPt>
          <c:dPt>
            <c:idx val="414"/>
            <c:spPr>
              <a:solidFill>
                <a:srgbClr val="646464"/>
              </a:solidFill>
            </c:spPr>
          </c:dPt>
          <c:dPt>
            <c:idx val="415"/>
            <c:spPr>
              <a:solidFill>
                <a:srgbClr val="646464"/>
              </a:solidFill>
            </c:spPr>
          </c:dPt>
          <c:dPt>
            <c:idx val="416"/>
            <c:spPr>
              <a:solidFill>
                <a:srgbClr val="646464"/>
              </a:solidFill>
            </c:spPr>
          </c:dPt>
          <c:dPt>
            <c:idx val="417"/>
            <c:spPr>
              <a:solidFill>
                <a:srgbClr val="646464"/>
              </a:solidFill>
            </c:spPr>
          </c:dPt>
          <c:dPt>
            <c:idx val="418"/>
            <c:spPr>
              <a:solidFill>
                <a:srgbClr val="646464"/>
              </a:solidFill>
            </c:spPr>
          </c:dPt>
          <c:dPt>
            <c:idx val="419"/>
            <c:spPr>
              <a:solidFill>
                <a:srgbClr val="646464"/>
              </a:solidFill>
            </c:spPr>
          </c:dPt>
          <c:dPt>
            <c:idx val="420"/>
            <c:spPr>
              <a:solidFill>
                <a:srgbClr val="646464"/>
              </a:solidFill>
            </c:spPr>
          </c:dPt>
          <c:dPt>
            <c:idx val="421"/>
            <c:spPr>
              <a:solidFill>
                <a:srgbClr val="646464"/>
              </a:solidFill>
            </c:spPr>
          </c:dPt>
          <c:dPt>
            <c:idx val="422"/>
            <c:spPr>
              <a:solidFill>
                <a:srgbClr val="646464"/>
              </a:solidFill>
            </c:spPr>
          </c:dPt>
          <c:dPt>
            <c:idx val="423"/>
            <c:spPr>
              <a:solidFill>
                <a:srgbClr val="646464"/>
              </a:solidFill>
            </c:spPr>
          </c:dPt>
          <c:dPt>
            <c:idx val="424"/>
            <c:spPr>
              <a:solidFill>
                <a:srgbClr val="646464"/>
              </a:solidFill>
            </c:spPr>
          </c:dPt>
          <c:dPt>
            <c:idx val="425"/>
            <c:spPr>
              <a:solidFill>
                <a:srgbClr val="646464"/>
              </a:solidFill>
            </c:spPr>
          </c:dPt>
          <c:dPt>
            <c:idx val="426"/>
            <c:spPr>
              <a:solidFill>
                <a:srgbClr val="646464"/>
              </a:solidFill>
            </c:spPr>
          </c:dPt>
          <c:dPt>
            <c:idx val="427"/>
            <c:spPr>
              <a:solidFill>
                <a:srgbClr val="646464"/>
              </a:solidFill>
            </c:spPr>
          </c:dPt>
          <c:dPt>
            <c:idx val="428"/>
            <c:spPr>
              <a:solidFill>
                <a:srgbClr val="646464"/>
              </a:solidFill>
            </c:spPr>
          </c:dPt>
          <c:dPt>
            <c:idx val="429"/>
            <c:spPr>
              <a:solidFill>
                <a:srgbClr val="646464"/>
              </a:solidFill>
            </c:spPr>
          </c:dPt>
          <c:dPt>
            <c:idx val="430"/>
            <c:spPr>
              <a:solidFill>
                <a:srgbClr val="646464"/>
              </a:solidFill>
            </c:spPr>
          </c:dPt>
          <c:dPt>
            <c:idx val="431"/>
            <c:spPr>
              <a:solidFill>
                <a:srgbClr val="646464"/>
              </a:solidFill>
            </c:spPr>
          </c:dPt>
          <c:dPt>
            <c:idx val="432"/>
            <c:spPr>
              <a:solidFill>
                <a:srgbClr val="646464"/>
              </a:solidFill>
            </c:spPr>
          </c:dPt>
          <c:dPt>
            <c:idx val="433"/>
            <c:spPr>
              <a:solidFill>
                <a:srgbClr val="646464"/>
              </a:solidFill>
            </c:spPr>
          </c:dPt>
          <c:dPt>
            <c:idx val="434"/>
            <c:spPr>
              <a:solidFill>
                <a:srgbClr val="646464"/>
              </a:solidFill>
            </c:spPr>
          </c:dPt>
          <c:dPt>
            <c:idx val="435"/>
            <c:spPr>
              <a:solidFill>
                <a:srgbClr val="646464"/>
              </a:solidFill>
            </c:spPr>
          </c:dPt>
          <c:dPt>
            <c:idx val="436"/>
            <c:spPr>
              <a:solidFill>
                <a:srgbClr val="646464"/>
              </a:solidFill>
            </c:spPr>
          </c:dPt>
          <c:dPt>
            <c:idx val="437"/>
            <c:spPr>
              <a:solidFill>
                <a:srgbClr val="646464"/>
              </a:solidFill>
            </c:spPr>
          </c:dPt>
          <c:dPt>
            <c:idx val="438"/>
            <c:spPr>
              <a:solidFill>
                <a:srgbClr val="646464"/>
              </a:solidFill>
            </c:spPr>
          </c:dPt>
          <c:dPt>
            <c:idx val="439"/>
            <c:spPr>
              <a:solidFill>
                <a:srgbClr val="646464"/>
              </a:solidFill>
            </c:spPr>
          </c:dPt>
          <c:dPt>
            <c:idx val="440"/>
            <c:spPr>
              <a:solidFill>
                <a:srgbClr val="646464"/>
              </a:solidFill>
            </c:spPr>
          </c:dPt>
          <c:dPt>
            <c:idx val="441"/>
            <c:spPr>
              <a:solidFill>
                <a:srgbClr val="646464"/>
              </a:solidFill>
            </c:spPr>
          </c:dPt>
          <c:dPt>
            <c:idx val="442"/>
            <c:spPr>
              <a:solidFill>
                <a:srgbClr val="646464"/>
              </a:solidFill>
            </c:spPr>
          </c:dPt>
          <c:dPt>
            <c:idx val="443"/>
            <c:spPr>
              <a:solidFill>
                <a:srgbClr val="646464"/>
              </a:solidFill>
            </c:spPr>
          </c:dPt>
          <c:dPt>
            <c:idx val="444"/>
            <c:spPr>
              <a:solidFill>
                <a:srgbClr val="646464"/>
              </a:solidFill>
            </c:spPr>
          </c:dPt>
          <c:dPt>
            <c:idx val="445"/>
            <c:spPr>
              <a:solidFill>
                <a:srgbClr val="646464"/>
              </a:solidFill>
            </c:spPr>
          </c:dPt>
          <c:dPt>
            <c:idx val="446"/>
            <c:spPr>
              <a:solidFill>
                <a:srgbClr val="646464"/>
              </a:solidFill>
            </c:spPr>
          </c:dPt>
          <c:dPt>
            <c:idx val="447"/>
            <c:spPr>
              <a:solidFill>
                <a:srgbClr val="646464"/>
              </a:solidFill>
            </c:spPr>
          </c:dPt>
          <c:dPt>
            <c:idx val="448"/>
            <c:spPr>
              <a:solidFill>
                <a:srgbClr val="646464"/>
              </a:solidFill>
            </c:spPr>
          </c:dPt>
          <c:dPt>
            <c:idx val="449"/>
            <c:spPr>
              <a:solidFill>
                <a:srgbClr val="646464"/>
              </a:solidFill>
            </c:spPr>
          </c:dPt>
          <c:dPt>
            <c:idx val="450"/>
            <c:spPr>
              <a:solidFill>
                <a:srgbClr val="646464"/>
              </a:solidFill>
            </c:spPr>
          </c:dPt>
          <c:dPt>
            <c:idx val="451"/>
            <c:spPr>
              <a:solidFill>
                <a:srgbClr val="646464"/>
              </a:solidFill>
            </c:spPr>
          </c:dPt>
          <c:dPt>
            <c:idx val="452"/>
            <c:spPr>
              <a:solidFill>
                <a:srgbClr val="646464"/>
              </a:solidFill>
            </c:spPr>
          </c:dPt>
          <c:dPt>
            <c:idx val="453"/>
            <c:spPr>
              <a:solidFill>
                <a:srgbClr val="646464"/>
              </a:solidFill>
            </c:spPr>
          </c:dPt>
          <c:dPt>
            <c:idx val="454"/>
            <c:spPr>
              <a:solidFill>
                <a:srgbClr val="646464"/>
              </a:solidFill>
            </c:spPr>
          </c:dPt>
          <c:dPt>
            <c:idx val="455"/>
            <c:spPr>
              <a:solidFill>
                <a:srgbClr val="646464"/>
              </a:solidFill>
            </c:spPr>
          </c:dPt>
          <c:dPt>
            <c:idx val="456"/>
            <c:spPr>
              <a:solidFill>
                <a:srgbClr val="646464"/>
              </a:solidFill>
            </c:spPr>
          </c:dPt>
          <c:dPt>
            <c:idx val="457"/>
            <c:spPr>
              <a:solidFill>
                <a:srgbClr val="646464"/>
              </a:solidFill>
            </c:spPr>
          </c:dPt>
          <c:dPt>
            <c:idx val="458"/>
            <c:spPr>
              <a:solidFill>
                <a:srgbClr val="646464"/>
              </a:solidFill>
            </c:spPr>
          </c:dPt>
          <c:dPt>
            <c:idx val="459"/>
            <c:spPr>
              <a:solidFill>
                <a:srgbClr val="646464"/>
              </a:solidFill>
            </c:spPr>
          </c:dPt>
          <c:dPt>
            <c:idx val="460"/>
            <c:spPr>
              <a:solidFill>
                <a:srgbClr val="646464"/>
              </a:solidFill>
            </c:spPr>
          </c:dPt>
          <c:dPt>
            <c:idx val="461"/>
            <c:spPr>
              <a:solidFill>
                <a:srgbClr val="646464"/>
              </a:solidFill>
            </c:spPr>
          </c:dPt>
          <c:dPt>
            <c:idx val="462"/>
            <c:spPr>
              <a:solidFill>
                <a:srgbClr val="646464"/>
              </a:solidFill>
            </c:spPr>
          </c:dPt>
          <c:dPt>
            <c:idx val="463"/>
            <c:spPr>
              <a:solidFill>
                <a:srgbClr val="646464"/>
              </a:solidFill>
            </c:spPr>
          </c:dPt>
          <c:dPt>
            <c:idx val="464"/>
            <c:spPr>
              <a:solidFill>
                <a:srgbClr val="646464"/>
              </a:solidFill>
            </c:spPr>
          </c:dPt>
          <c:dPt>
            <c:idx val="465"/>
            <c:spPr>
              <a:solidFill>
                <a:srgbClr val="646464"/>
              </a:solidFill>
            </c:spPr>
          </c:dPt>
          <c:dPt>
            <c:idx val="466"/>
            <c:spPr>
              <a:solidFill>
                <a:srgbClr val="646464"/>
              </a:solidFill>
            </c:spPr>
          </c:dPt>
          <c:dPt>
            <c:idx val="467"/>
            <c:spPr>
              <a:solidFill>
                <a:srgbClr val="646464"/>
              </a:solidFill>
            </c:spPr>
          </c:dPt>
          <c:dPt>
            <c:idx val="468"/>
            <c:spPr>
              <a:solidFill>
                <a:srgbClr val="646464"/>
              </a:solidFill>
            </c:spPr>
          </c:dPt>
          <c:dPt>
            <c:idx val="469"/>
            <c:spPr>
              <a:solidFill>
                <a:srgbClr val="646464"/>
              </a:solidFill>
            </c:spPr>
          </c:dPt>
          <c:dPt>
            <c:idx val="470"/>
            <c:spPr>
              <a:solidFill>
                <a:srgbClr val="646464"/>
              </a:solidFill>
            </c:spPr>
          </c:dPt>
          <c:dPt>
            <c:idx val="471"/>
            <c:spPr>
              <a:solidFill>
                <a:srgbClr val="646464"/>
              </a:solidFill>
            </c:spPr>
          </c:dPt>
          <c:dPt>
            <c:idx val="472"/>
            <c:spPr>
              <a:solidFill>
                <a:srgbClr val="646464"/>
              </a:solidFill>
            </c:spPr>
          </c:dPt>
          <c:dPt>
            <c:idx val="473"/>
            <c:spPr>
              <a:solidFill>
                <a:srgbClr val="646464"/>
              </a:solidFill>
            </c:spPr>
          </c:dPt>
          <c:dPt>
            <c:idx val="474"/>
            <c:spPr>
              <a:solidFill>
                <a:srgbClr val="646464"/>
              </a:solidFill>
            </c:spPr>
          </c:dPt>
          <c:dPt>
            <c:idx val="475"/>
            <c:spPr>
              <a:solidFill>
                <a:srgbClr val="646464"/>
              </a:solidFill>
            </c:spPr>
          </c:dPt>
          <c:dPt>
            <c:idx val="476"/>
            <c:spPr>
              <a:solidFill>
                <a:srgbClr val="646464"/>
              </a:solidFill>
            </c:spPr>
          </c:dPt>
          <c:dPt>
            <c:idx val="477"/>
            <c:spPr>
              <a:solidFill>
                <a:srgbClr val="646464"/>
              </a:solidFill>
            </c:spPr>
          </c:dPt>
          <c:dPt>
            <c:idx val="478"/>
            <c:spPr>
              <a:solidFill>
                <a:srgbClr val="646464"/>
              </a:solidFill>
            </c:spPr>
          </c:dPt>
          <c:dPt>
            <c:idx val="479"/>
            <c:spPr>
              <a:solidFill>
                <a:srgbClr val="646464"/>
              </a:solidFill>
            </c:spPr>
          </c:dPt>
          <c:dPt>
            <c:idx val="480"/>
            <c:spPr>
              <a:solidFill>
                <a:srgbClr val="646464"/>
              </a:solidFill>
            </c:spPr>
          </c:dPt>
          <c:dPt>
            <c:idx val="481"/>
            <c:spPr>
              <a:solidFill>
                <a:srgbClr val="646464"/>
              </a:solidFill>
            </c:spPr>
          </c:dPt>
          <c:dPt>
            <c:idx val="482"/>
            <c:spPr>
              <a:solidFill>
                <a:srgbClr val="646464"/>
              </a:solidFill>
            </c:spPr>
          </c:dPt>
          <c:dPt>
            <c:idx val="483"/>
            <c:spPr>
              <a:solidFill>
                <a:srgbClr val="646464"/>
              </a:solidFill>
            </c:spPr>
          </c:dPt>
          <c:dPt>
            <c:idx val="484"/>
            <c:spPr>
              <a:solidFill>
                <a:srgbClr val="646464"/>
              </a:solidFill>
            </c:spPr>
          </c:dPt>
          <c:dPt>
            <c:idx val="485"/>
            <c:spPr>
              <a:solidFill>
                <a:srgbClr val="646464"/>
              </a:solidFill>
            </c:spPr>
          </c:dPt>
          <c:dPt>
            <c:idx val="486"/>
            <c:spPr>
              <a:solidFill>
                <a:srgbClr val="646464"/>
              </a:solidFill>
            </c:spPr>
          </c:dPt>
          <c:dPt>
            <c:idx val="487"/>
            <c:spPr>
              <a:solidFill>
                <a:srgbClr val="646464"/>
              </a:solidFill>
            </c:spPr>
          </c:dPt>
          <c:dPt>
            <c:idx val="488"/>
            <c:spPr>
              <a:solidFill>
                <a:srgbClr val="646464"/>
              </a:solidFill>
            </c:spPr>
          </c:dPt>
          <c:dPt>
            <c:idx val="489"/>
            <c:spPr>
              <a:solidFill>
                <a:srgbClr val="646464"/>
              </a:solidFill>
            </c:spPr>
          </c:dPt>
          <c:dPt>
            <c:idx val="490"/>
            <c:spPr>
              <a:solidFill>
                <a:srgbClr val="646464"/>
              </a:solidFill>
            </c:spPr>
          </c:dPt>
          <c:dPt>
            <c:idx val="491"/>
            <c:spPr>
              <a:solidFill>
                <a:srgbClr val="646464"/>
              </a:solidFill>
            </c:spPr>
          </c:dPt>
          <c:dPt>
            <c:idx val="492"/>
            <c:spPr>
              <a:solidFill>
                <a:srgbClr val="646464"/>
              </a:solidFill>
            </c:spPr>
          </c:dPt>
          <c:dPt>
            <c:idx val="493"/>
            <c:spPr>
              <a:solidFill>
                <a:srgbClr val="646464"/>
              </a:solidFill>
            </c:spPr>
          </c:dPt>
          <c:dPt>
            <c:idx val="494"/>
            <c:spPr>
              <a:solidFill>
                <a:srgbClr val="646464"/>
              </a:solidFill>
            </c:spPr>
          </c:dPt>
          <c:dPt>
            <c:idx val="495"/>
            <c:spPr>
              <a:solidFill>
                <a:srgbClr val="646464"/>
              </a:solidFill>
            </c:spPr>
          </c:dPt>
          <c:dPt>
            <c:idx val="496"/>
            <c:spPr>
              <a:solidFill>
                <a:srgbClr val="646464"/>
              </a:solidFill>
            </c:spPr>
          </c:dPt>
          <c:dPt>
            <c:idx val="497"/>
            <c:spPr>
              <a:solidFill>
                <a:srgbClr val="646464"/>
              </a:solidFill>
            </c:spPr>
          </c:dPt>
          <c:dPt>
            <c:idx val="498"/>
            <c:spPr>
              <a:solidFill>
                <a:srgbClr val="646464"/>
              </a:solidFill>
            </c:spPr>
          </c:dPt>
          <c:dPt>
            <c:idx val="499"/>
            <c:spPr>
              <a:solidFill>
                <a:srgbClr val="646464"/>
              </a:solidFill>
            </c:spPr>
          </c:dPt>
          <c:dPt>
            <c:idx val="500"/>
            <c:spPr>
              <a:solidFill>
                <a:srgbClr val="646464"/>
              </a:solidFill>
            </c:spPr>
          </c:dPt>
          <c:dPt>
            <c:idx val="501"/>
            <c:spPr>
              <a:solidFill>
                <a:srgbClr val="646464"/>
              </a:solidFill>
            </c:spPr>
          </c:dPt>
          <c:dPt>
            <c:idx val="502"/>
            <c:spPr>
              <a:solidFill>
                <a:srgbClr val="646464"/>
              </a:solidFill>
            </c:spPr>
          </c:dPt>
          <c:dPt>
            <c:idx val="503"/>
            <c:spPr>
              <a:solidFill>
                <a:srgbClr val="646464"/>
              </a:solidFill>
            </c:spPr>
          </c:dPt>
          <c:dPt>
            <c:idx val="504"/>
            <c:spPr>
              <a:solidFill>
                <a:srgbClr val="646464"/>
              </a:solidFill>
            </c:spPr>
          </c:dPt>
          <c:dPt>
            <c:idx val="505"/>
            <c:spPr>
              <a:solidFill>
                <a:srgbClr val="646464"/>
              </a:solidFill>
            </c:spPr>
          </c:dPt>
          <c:dPt>
            <c:idx val="506"/>
            <c:spPr>
              <a:solidFill>
                <a:srgbClr val="646464"/>
              </a:solidFill>
            </c:spPr>
          </c:dPt>
          <c:dPt>
            <c:idx val="507"/>
            <c:spPr>
              <a:solidFill>
                <a:srgbClr val="646464"/>
              </a:solidFill>
            </c:spPr>
          </c:dPt>
          <c:dPt>
            <c:idx val="508"/>
            <c:spPr>
              <a:solidFill>
                <a:srgbClr val="646464"/>
              </a:solidFill>
            </c:spPr>
          </c:dPt>
          <c:dPt>
            <c:idx val="509"/>
            <c:spPr>
              <a:solidFill>
                <a:srgbClr val="646464"/>
              </a:solidFill>
            </c:spPr>
          </c:dPt>
          <c:dPt>
            <c:idx val="510"/>
            <c:spPr>
              <a:solidFill>
                <a:srgbClr val="646464"/>
              </a:solidFill>
            </c:spPr>
          </c:dPt>
          <c:dPt>
            <c:idx val="511"/>
            <c:spPr>
              <a:solidFill>
                <a:srgbClr val="646464"/>
              </a:solidFill>
            </c:spPr>
          </c:dPt>
          <c:dPt>
            <c:idx val="512"/>
            <c:spPr>
              <a:solidFill>
                <a:srgbClr val="646464"/>
              </a:solidFill>
            </c:spPr>
          </c:dPt>
          <c:dPt>
            <c:idx val="513"/>
            <c:spPr>
              <a:solidFill>
                <a:srgbClr val="646464"/>
              </a:solidFill>
            </c:spPr>
          </c:dPt>
          <c:dPt>
            <c:idx val="514"/>
            <c:spPr>
              <a:solidFill>
                <a:srgbClr val="646464"/>
              </a:solidFill>
            </c:spPr>
          </c:dPt>
          <c:dPt>
            <c:idx val="515"/>
            <c:spPr>
              <a:solidFill>
                <a:srgbClr val="646464"/>
              </a:solidFill>
            </c:spPr>
          </c:dPt>
          <c:dPt>
            <c:idx val="516"/>
            <c:spPr>
              <a:solidFill>
                <a:srgbClr val="646464"/>
              </a:solidFill>
            </c:spPr>
          </c:dPt>
          <c:dPt>
            <c:idx val="517"/>
            <c:spPr>
              <a:solidFill>
                <a:srgbClr val="646464"/>
              </a:solidFill>
            </c:spPr>
          </c:dPt>
          <c:dPt>
            <c:idx val="518"/>
            <c:spPr>
              <a:solidFill>
                <a:srgbClr val="646464"/>
              </a:solidFill>
            </c:spPr>
          </c:dPt>
          <c:dPt>
            <c:idx val="519"/>
            <c:spPr>
              <a:solidFill>
                <a:srgbClr val="646464"/>
              </a:solidFill>
            </c:spPr>
          </c:dPt>
          <c:dPt>
            <c:idx val="520"/>
            <c:spPr>
              <a:solidFill>
                <a:srgbClr val="646464"/>
              </a:solidFill>
            </c:spPr>
          </c:dPt>
          <c:dPt>
            <c:idx val="521"/>
            <c:spPr>
              <a:solidFill>
                <a:srgbClr val="646464"/>
              </a:solidFill>
            </c:spPr>
          </c:dPt>
          <c:dPt>
            <c:idx val="522"/>
            <c:spPr>
              <a:solidFill>
                <a:srgbClr val="646464"/>
              </a:solidFill>
            </c:spPr>
          </c:dPt>
          <c:dPt>
            <c:idx val="523"/>
            <c:spPr>
              <a:solidFill>
                <a:srgbClr val="646464"/>
              </a:solidFill>
            </c:spPr>
          </c:dPt>
          <c:dPt>
            <c:idx val="524"/>
            <c:spPr>
              <a:solidFill>
                <a:srgbClr val="646464"/>
              </a:solidFill>
            </c:spPr>
          </c:dPt>
          <c:dPt>
            <c:idx val="525"/>
            <c:spPr>
              <a:solidFill>
                <a:srgbClr val="646464"/>
              </a:solidFill>
            </c:spPr>
          </c:dPt>
          <c:dPt>
            <c:idx val="526"/>
            <c:spPr>
              <a:solidFill>
                <a:srgbClr val="646464"/>
              </a:solidFill>
            </c:spPr>
          </c:dPt>
          <c:dPt>
            <c:idx val="527"/>
            <c:spPr>
              <a:solidFill>
                <a:srgbClr val="646464"/>
              </a:solidFill>
            </c:spPr>
          </c:dPt>
          <c:dPt>
            <c:idx val="528"/>
            <c:spPr>
              <a:solidFill>
                <a:srgbClr val="646464"/>
              </a:solidFill>
            </c:spPr>
          </c:dPt>
          <c:dPt>
            <c:idx val="529"/>
            <c:spPr>
              <a:solidFill>
                <a:srgbClr val="646464"/>
              </a:solidFill>
            </c:spPr>
          </c:dPt>
          <c:dPt>
            <c:idx val="530"/>
            <c:spPr>
              <a:solidFill>
                <a:srgbClr val="646464"/>
              </a:solidFill>
            </c:spPr>
          </c:dPt>
          <c:dPt>
            <c:idx val="531"/>
            <c:spPr>
              <a:solidFill>
                <a:srgbClr val="646464"/>
              </a:solidFill>
            </c:spPr>
          </c:dPt>
          <c:dPt>
            <c:idx val="532"/>
            <c:spPr>
              <a:solidFill>
                <a:srgbClr val="646464"/>
              </a:solidFill>
            </c:spPr>
          </c:dPt>
          <c:dPt>
            <c:idx val="533"/>
            <c:spPr>
              <a:solidFill>
                <a:srgbClr val="646464"/>
              </a:solidFill>
            </c:spPr>
          </c:dPt>
          <c:dPt>
            <c:idx val="534"/>
            <c:spPr>
              <a:solidFill>
                <a:srgbClr val="646464"/>
              </a:solidFill>
            </c:spPr>
          </c:dPt>
          <c:dPt>
            <c:idx val="535"/>
            <c:spPr>
              <a:solidFill>
                <a:srgbClr val="646464"/>
              </a:solidFill>
            </c:spPr>
          </c:dPt>
          <c:dPt>
            <c:idx val="536"/>
            <c:spPr>
              <a:solidFill>
                <a:srgbClr val="646464"/>
              </a:solidFill>
            </c:spPr>
          </c:dPt>
          <c:dPt>
            <c:idx val="537"/>
            <c:spPr>
              <a:solidFill>
                <a:srgbClr val="646464"/>
              </a:solidFill>
            </c:spPr>
          </c:dPt>
          <c:dPt>
            <c:idx val="538"/>
            <c:spPr>
              <a:solidFill>
                <a:srgbClr val="646464"/>
              </a:solidFill>
            </c:spPr>
          </c:dPt>
          <c:dPt>
            <c:idx val="539"/>
            <c:spPr>
              <a:solidFill>
                <a:srgbClr val="646464"/>
              </a:solidFill>
            </c:spPr>
          </c:dPt>
          <c:dPt>
            <c:idx val="540"/>
            <c:spPr>
              <a:solidFill>
                <a:srgbClr val="646464"/>
              </a:solidFill>
            </c:spPr>
          </c:dPt>
          <c:dPt>
            <c:idx val="541"/>
            <c:spPr>
              <a:solidFill>
                <a:srgbClr val="646464"/>
              </a:solidFill>
            </c:spPr>
          </c:dPt>
          <c:dPt>
            <c:idx val="542"/>
            <c:spPr>
              <a:solidFill>
                <a:srgbClr val="646464"/>
              </a:solidFill>
            </c:spPr>
          </c:dPt>
          <c:dPt>
            <c:idx val="543"/>
            <c:spPr>
              <a:solidFill>
                <a:srgbClr val="646464"/>
              </a:solidFill>
            </c:spPr>
          </c:dPt>
          <c:dPt>
            <c:idx val="544"/>
            <c:spPr>
              <a:solidFill>
                <a:srgbClr val="646464"/>
              </a:solidFill>
            </c:spPr>
          </c:dPt>
          <c:dPt>
            <c:idx val="545"/>
            <c:spPr>
              <a:solidFill>
                <a:srgbClr val="646464"/>
              </a:solidFill>
            </c:spPr>
          </c:dPt>
          <c:dPt>
            <c:idx val="546"/>
            <c:spPr>
              <a:solidFill>
                <a:srgbClr val="646464"/>
              </a:solidFill>
            </c:spPr>
          </c:dPt>
          <c:dPt>
            <c:idx val="547"/>
            <c:spPr>
              <a:solidFill>
                <a:srgbClr val="646464"/>
              </a:solidFill>
            </c:spPr>
          </c:dPt>
          <c:dPt>
            <c:idx val="548"/>
            <c:spPr>
              <a:solidFill>
                <a:srgbClr val="646464"/>
              </a:solidFill>
            </c:spPr>
          </c:dPt>
          <c:dPt>
            <c:idx val="549"/>
            <c:spPr>
              <a:solidFill>
                <a:srgbClr val="646464"/>
              </a:solidFill>
            </c:spPr>
          </c:dPt>
          <c:dPt>
            <c:idx val="550"/>
            <c:spPr>
              <a:solidFill>
                <a:srgbClr val="646464"/>
              </a:solidFill>
            </c:spPr>
          </c:dPt>
          <c:dPt>
            <c:idx val="551"/>
            <c:spPr>
              <a:solidFill>
                <a:srgbClr val="646464"/>
              </a:solidFill>
            </c:spPr>
          </c:dPt>
          <c:dPt>
            <c:idx val="552"/>
            <c:spPr>
              <a:solidFill>
                <a:srgbClr val="646464"/>
              </a:solidFill>
            </c:spPr>
          </c:dPt>
          <c:dPt>
            <c:idx val="553"/>
            <c:spPr>
              <a:solidFill>
                <a:srgbClr val="646464"/>
              </a:solidFill>
            </c:spPr>
          </c:dPt>
          <c:dPt>
            <c:idx val="554"/>
            <c:spPr>
              <a:solidFill>
                <a:srgbClr val="646464"/>
              </a:solidFill>
            </c:spPr>
          </c:dPt>
          <c:dPt>
            <c:idx val="555"/>
            <c:spPr>
              <a:solidFill>
                <a:srgbClr val="646464"/>
              </a:solidFill>
            </c:spPr>
          </c:dPt>
          <c:dPt>
            <c:idx val="556"/>
            <c:spPr>
              <a:solidFill>
                <a:srgbClr val="646464"/>
              </a:solidFill>
            </c:spPr>
          </c:dPt>
          <c:dPt>
            <c:idx val="557"/>
            <c:spPr>
              <a:solidFill>
                <a:srgbClr val="646464"/>
              </a:solidFill>
            </c:spPr>
          </c:dPt>
          <c:dPt>
            <c:idx val="558"/>
            <c:spPr>
              <a:solidFill>
                <a:srgbClr val="646464"/>
              </a:solidFill>
            </c:spPr>
          </c:dPt>
          <c:dPt>
            <c:idx val="559"/>
            <c:spPr>
              <a:solidFill>
                <a:srgbClr val="646464"/>
              </a:solidFill>
            </c:spPr>
          </c:dPt>
          <c:dPt>
            <c:idx val="560"/>
            <c:spPr>
              <a:solidFill>
                <a:srgbClr val="646464"/>
              </a:solidFill>
            </c:spPr>
          </c:dPt>
          <c:dPt>
            <c:idx val="561"/>
            <c:spPr>
              <a:solidFill>
                <a:srgbClr val="646464"/>
              </a:solidFill>
            </c:spPr>
          </c:dPt>
          <c:dPt>
            <c:idx val="562"/>
            <c:spPr>
              <a:solidFill>
                <a:srgbClr val="646464"/>
              </a:solidFill>
            </c:spPr>
          </c:dPt>
          <c:dPt>
            <c:idx val="563"/>
            <c:spPr>
              <a:solidFill>
                <a:srgbClr val="646464"/>
              </a:solidFill>
            </c:spPr>
          </c:dPt>
          <c:dPt>
            <c:idx val="564"/>
            <c:spPr>
              <a:solidFill>
                <a:srgbClr val="646464"/>
              </a:solidFill>
            </c:spPr>
          </c:dPt>
          <c:dPt>
            <c:idx val="565"/>
            <c:spPr>
              <a:solidFill>
                <a:srgbClr val="646464"/>
              </a:solidFill>
            </c:spPr>
          </c:dPt>
          <c:dPt>
            <c:idx val="566"/>
            <c:spPr>
              <a:solidFill>
                <a:srgbClr val="646464"/>
              </a:solidFill>
            </c:spPr>
          </c:dPt>
          <c:dPt>
            <c:idx val="567"/>
            <c:spPr>
              <a:solidFill>
                <a:srgbClr val="646464"/>
              </a:solidFill>
            </c:spPr>
          </c:dPt>
          <c:dPt>
            <c:idx val="568"/>
            <c:spPr>
              <a:solidFill>
                <a:srgbClr val="646464"/>
              </a:solidFill>
            </c:spPr>
          </c:dPt>
          <c:dPt>
            <c:idx val="569"/>
            <c:spPr>
              <a:solidFill>
                <a:srgbClr val="646464"/>
              </a:solidFill>
            </c:spPr>
          </c:dPt>
          <c:dPt>
            <c:idx val="570"/>
            <c:spPr>
              <a:solidFill>
                <a:srgbClr val="646464"/>
              </a:solidFill>
            </c:spPr>
          </c:dPt>
          <c:dPt>
            <c:idx val="571"/>
            <c:spPr>
              <a:solidFill>
                <a:srgbClr val="646464"/>
              </a:solidFill>
            </c:spPr>
          </c:dPt>
          <c:dPt>
            <c:idx val="572"/>
            <c:spPr>
              <a:solidFill>
                <a:srgbClr val="646464"/>
              </a:solidFill>
            </c:spPr>
          </c:dPt>
          <c:dPt>
            <c:idx val="573"/>
            <c:spPr>
              <a:solidFill>
                <a:srgbClr val="646464"/>
              </a:solidFill>
            </c:spPr>
          </c:dPt>
          <c:dPt>
            <c:idx val="574"/>
            <c:spPr>
              <a:solidFill>
                <a:srgbClr val="646464"/>
              </a:solidFill>
            </c:spPr>
          </c:dPt>
          <c:dPt>
            <c:idx val="575"/>
            <c:spPr>
              <a:solidFill>
                <a:srgbClr val="646464"/>
              </a:solidFill>
            </c:spPr>
          </c:dPt>
          <c:dPt>
            <c:idx val="576"/>
            <c:spPr>
              <a:solidFill>
                <a:srgbClr val="646464"/>
              </a:solidFill>
            </c:spPr>
          </c:dPt>
          <c:dPt>
            <c:idx val="577"/>
            <c:spPr>
              <a:solidFill>
                <a:srgbClr val="646464"/>
              </a:solidFill>
            </c:spPr>
          </c:dPt>
          <c:dPt>
            <c:idx val="578"/>
            <c:spPr>
              <a:solidFill>
                <a:srgbClr val="646464"/>
              </a:solidFill>
            </c:spPr>
          </c:dPt>
          <c:dPt>
            <c:idx val="579"/>
            <c:spPr>
              <a:solidFill>
                <a:srgbClr val="646464"/>
              </a:solidFill>
            </c:spPr>
          </c:dPt>
          <c:dPt>
            <c:idx val="580"/>
            <c:spPr>
              <a:solidFill>
                <a:srgbClr val="646464"/>
              </a:solidFill>
            </c:spPr>
          </c:dPt>
          <c:dPt>
            <c:idx val="581"/>
            <c:spPr>
              <a:solidFill>
                <a:srgbClr val="646464"/>
              </a:solidFill>
            </c:spPr>
          </c:dPt>
          <c:dPt>
            <c:idx val="582"/>
            <c:spPr>
              <a:solidFill>
                <a:srgbClr val="646464"/>
              </a:solidFill>
            </c:spPr>
          </c:dPt>
          <c:dPt>
            <c:idx val="583"/>
            <c:spPr>
              <a:solidFill>
                <a:srgbClr val="646464"/>
              </a:solidFill>
            </c:spPr>
          </c:dPt>
          <c:dPt>
            <c:idx val="584"/>
            <c:spPr>
              <a:solidFill>
                <a:srgbClr val="646464"/>
              </a:solidFill>
            </c:spPr>
          </c:dPt>
          <c:dPt>
            <c:idx val="585"/>
            <c:spPr>
              <a:solidFill>
                <a:srgbClr val="646464"/>
              </a:solidFill>
            </c:spPr>
          </c:dPt>
          <c:dPt>
            <c:idx val="586"/>
            <c:spPr>
              <a:solidFill>
                <a:srgbClr val="646464"/>
              </a:solidFill>
            </c:spPr>
          </c:dPt>
          <c:dPt>
            <c:idx val="587"/>
            <c:spPr>
              <a:solidFill>
                <a:srgbClr val="646464"/>
              </a:solidFill>
            </c:spPr>
          </c:dPt>
          <c:dPt>
            <c:idx val="588"/>
            <c:spPr>
              <a:solidFill>
                <a:srgbClr val="646464"/>
              </a:solidFill>
            </c:spPr>
          </c:dPt>
          <c:dPt>
            <c:idx val="589"/>
            <c:spPr>
              <a:solidFill>
                <a:srgbClr val="646464"/>
              </a:solidFill>
            </c:spPr>
          </c:dPt>
          <c:dPt>
            <c:idx val="590"/>
            <c:spPr>
              <a:solidFill>
                <a:srgbClr val="646464"/>
              </a:solidFill>
            </c:spPr>
          </c:dPt>
          <c:dPt>
            <c:idx val="591"/>
            <c:spPr>
              <a:solidFill>
                <a:srgbClr val="646464"/>
              </a:solidFill>
            </c:spPr>
          </c:dPt>
          <c:dPt>
            <c:idx val="592"/>
            <c:spPr>
              <a:solidFill>
                <a:srgbClr val="646464"/>
              </a:solidFill>
            </c:spPr>
          </c:dPt>
          <c:dPt>
            <c:idx val="593"/>
            <c:spPr>
              <a:solidFill>
                <a:srgbClr val="646464"/>
              </a:solidFill>
            </c:spPr>
          </c:dPt>
          <c:dPt>
            <c:idx val="594"/>
            <c:spPr>
              <a:solidFill>
                <a:srgbClr val="646464"/>
              </a:solidFill>
            </c:spPr>
          </c:dPt>
          <c:dPt>
            <c:idx val="595"/>
            <c:spPr>
              <a:solidFill>
                <a:srgbClr val="646464"/>
              </a:solidFill>
            </c:spPr>
          </c:dPt>
          <c:dPt>
            <c:idx val="596"/>
            <c:spPr>
              <a:solidFill>
                <a:srgbClr val="646464"/>
              </a:solidFill>
            </c:spPr>
          </c:dPt>
          <c:dPt>
            <c:idx val="597"/>
            <c:spPr>
              <a:solidFill>
                <a:srgbClr val="646464"/>
              </a:solidFill>
            </c:spPr>
          </c:dPt>
          <c:dPt>
            <c:idx val="598"/>
            <c:spPr>
              <a:solidFill>
                <a:srgbClr val="646464"/>
              </a:solidFill>
            </c:spPr>
          </c:dPt>
          <c:dPt>
            <c:idx val="599"/>
            <c:spPr>
              <a:solidFill>
                <a:srgbClr val="646464"/>
              </a:solidFill>
            </c:spPr>
          </c:dPt>
          <c:dPt>
            <c:idx val="600"/>
            <c:spPr>
              <a:solidFill>
                <a:srgbClr val="646464"/>
              </a:solidFill>
            </c:spPr>
          </c:dPt>
          <c:dPt>
            <c:idx val="601"/>
            <c:spPr>
              <a:solidFill>
                <a:srgbClr val="646464"/>
              </a:solidFill>
            </c:spPr>
          </c:dPt>
          <c:dPt>
            <c:idx val="602"/>
            <c:spPr>
              <a:solidFill>
                <a:srgbClr val="646464"/>
              </a:solidFill>
            </c:spPr>
          </c:dPt>
          <c:dPt>
            <c:idx val="603"/>
            <c:spPr>
              <a:solidFill>
                <a:srgbClr val="646464"/>
              </a:solidFill>
            </c:spPr>
          </c:dPt>
          <c:dPt>
            <c:idx val="604"/>
            <c:spPr>
              <a:solidFill>
                <a:srgbClr val="646464"/>
              </a:solidFill>
            </c:spPr>
          </c:dPt>
          <c:dPt>
            <c:idx val="605"/>
            <c:spPr>
              <a:solidFill>
                <a:srgbClr val="646464"/>
              </a:solidFill>
            </c:spPr>
          </c:dPt>
          <c:dPt>
            <c:idx val="606"/>
            <c:spPr>
              <a:solidFill>
                <a:srgbClr val="646464"/>
              </a:solidFill>
            </c:spPr>
          </c:dPt>
          <c:dPt>
            <c:idx val="607"/>
            <c:spPr>
              <a:solidFill>
                <a:srgbClr val="646464"/>
              </a:solidFill>
            </c:spPr>
          </c:dPt>
          <c:dPt>
            <c:idx val="608"/>
            <c:spPr>
              <a:solidFill>
                <a:srgbClr val="646464"/>
              </a:solidFill>
            </c:spPr>
          </c:dPt>
          <c:dPt>
            <c:idx val="609"/>
            <c:spPr>
              <a:solidFill>
                <a:srgbClr val="646464"/>
              </a:solidFill>
            </c:spPr>
          </c:dPt>
          <c:dPt>
            <c:idx val="610"/>
            <c:spPr>
              <a:solidFill>
                <a:srgbClr val="646464"/>
              </a:solidFill>
            </c:spPr>
          </c:dPt>
          <c:dPt>
            <c:idx val="611"/>
            <c:spPr>
              <a:solidFill>
                <a:srgbClr val="646464"/>
              </a:solidFill>
            </c:spPr>
          </c:dPt>
          <c:dPt>
            <c:idx val="612"/>
            <c:spPr>
              <a:solidFill>
                <a:srgbClr val="646464"/>
              </a:solidFill>
            </c:spPr>
          </c:dPt>
          <c:dPt>
            <c:idx val="613"/>
            <c:spPr>
              <a:solidFill>
                <a:srgbClr val="646464"/>
              </a:solidFill>
            </c:spPr>
          </c:dPt>
          <c:dPt>
            <c:idx val="614"/>
            <c:spPr>
              <a:solidFill>
                <a:srgbClr val="646464"/>
              </a:solidFill>
            </c:spPr>
          </c:dPt>
          <c:dPt>
            <c:idx val="615"/>
            <c:spPr>
              <a:solidFill>
                <a:srgbClr val="646464"/>
              </a:solidFill>
            </c:spPr>
          </c:dPt>
          <c:dPt>
            <c:idx val="616"/>
            <c:spPr>
              <a:solidFill>
                <a:srgbClr val="646464"/>
              </a:solidFill>
            </c:spPr>
          </c:dPt>
          <c:dPt>
            <c:idx val="617"/>
            <c:spPr>
              <a:solidFill>
                <a:srgbClr val="646464"/>
              </a:solidFill>
            </c:spPr>
          </c:dPt>
          <c:dPt>
            <c:idx val="618"/>
            <c:spPr>
              <a:solidFill>
                <a:srgbClr val="646464"/>
              </a:solidFill>
            </c:spPr>
          </c:dPt>
          <c:dPt>
            <c:idx val="619"/>
            <c:spPr>
              <a:solidFill>
                <a:srgbClr val="646464"/>
              </a:solidFill>
            </c:spPr>
          </c:dPt>
          <c:dPt>
            <c:idx val="620"/>
            <c:spPr>
              <a:solidFill>
                <a:srgbClr val="646464"/>
              </a:solidFill>
            </c:spPr>
          </c:dPt>
          <c:dPt>
            <c:idx val="621"/>
            <c:spPr>
              <a:solidFill>
                <a:srgbClr val="646464"/>
              </a:solidFill>
            </c:spPr>
          </c:dPt>
          <c:dPt>
            <c:idx val="622"/>
            <c:spPr>
              <a:solidFill>
                <a:srgbClr val="646464"/>
              </a:solidFill>
            </c:spPr>
          </c:dPt>
          <c:dPt>
            <c:idx val="623"/>
            <c:spPr>
              <a:solidFill>
                <a:srgbClr val="646464"/>
              </a:solidFill>
            </c:spPr>
          </c:dPt>
          <c:dPt>
            <c:idx val="624"/>
            <c:spPr>
              <a:solidFill>
                <a:srgbClr val="646464"/>
              </a:solidFill>
            </c:spPr>
          </c:dPt>
          <c:dPt>
            <c:idx val="625"/>
            <c:spPr>
              <a:solidFill>
                <a:srgbClr val="646464"/>
              </a:solidFill>
            </c:spPr>
          </c:dPt>
          <c:dPt>
            <c:idx val="626"/>
            <c:spPr>
              <a:solidFill>
                <a:srgbClr val="646464"/>
              </a:solidFill>
            </c:spPr>
          </c:dPt>
          <c:dPt>
            <c:idx val="627"/>
            <c:spPr>
              <a:solidFill>
                <a:srgbClr val="646464"/>
              </a:solidFill>
            </c:spPr>
          </c:dPt>
          <c:dPt>
            <c:idx val="628"/>
            <c:spPr>
              <a:solidFill>
                <a:srgbClr val="646464"/>
              </a:solidFill>
            </c:spPr>
          </c:dPt>
          <c:dPt>
            <c:idx val="629"/>
            <c:spPr>
              <a:solidFill>
                <a:srgbClr val="646464"/>
              </a:solidFill>
            </c:spPr>
          </c:dPt>
          <c:dPt>
            <c:idx val="630"/>
            <c:spPr>
              <a:solidFill>
                <a:srgbClr val="646464"/>
              </a:solidFill>
            </c:spPr>
          </c:dPt>
          <c:dPt>
            <c:idx val="631"/>
            <c:spPr>
              <a:solidFill>
                <a:srgbClr val="646464"/>
              </a:solidFill>
            </c:spPr>
          </c:dPt>
          <c:dPt>
            <c:idx val="632"/>
            <c:spPr>
              <a:solidFill>
                <a:srgbClr val="646464"/>
              </a:solidFill>
            </c:spPr>
          </c:dPt>
          <c:dPt>
            <c:idx val="633"/>
            <c:spPr>
              <a:solidFill>
                <a:srgbClr val="646464"/>
              </a:solidFill>
            </c:spPr>
          </c:dPt>
          <c:dPt>
            <c:idx val="634"/>
            <c:spPr>
              <a:solidFill>
                <a:srgbClr val="646464"/>
              </a:solidFill>
            </c:spPr>
          </c:dPt>
          <c:dPt>
            <c:idx val="635"/>
            <c:spPr>
              <a:solidFill>
                <a:srgbClr val="646464"/>
              </a:solidFill>
            </c:spPr>
          </c:dPt>
          <c:dPt>
            <c:idx val="636"/>
            <c:spPr>
              <a:solidFill>
                <a:srgbClr val="646464"/>
              </a:solidFill>
            </c:spPr>
          </c:dPt>
          <c:dPt>
            <c:idx val="637"/>
            <c:spPr>
              <a:solidFill>
                <a:srgbClr val="646464"/>
              </a:solidFill>
            </c:spPr>
          </c:dPt>
          <c:dPt>
            <c:idx val="638"/>
            <c:spPr>
              <a:solidFill>
                <a:srgbClr val="646464"/>
              </a:solidFill>
            </c:spPr>
          </c:dPt>
          <c:dPt>
            <c:idx val="639"/>
            <c:spPr>
              <a:solidFill>
                <a:srgbClr val="646464"/>
              </a:solidFill>
            </c:spPr>
          </c:dPt>
          <c:dPt>
            <c:idx val="640"/>
            <c:spPr>
              <a:solidFill>
                <a:srgbClr val="646464"/>
              </a:solidFill>
            </c:spPr>
          </c:dPt>
          <c:dPt>
            <c:idx val="641"/>
            <c:spPr>
              <a:solidFill>
                <a:srgbClr val="646464"/>
              </a:solidFill>
            </c:spPr>
          </c:dPt>
          <c:dPt>
            <c:idx val="642"/>
            <c:spPr>
              <a:solidFill>
                <a:srgbClr val="646464"/>
              </a:solidFill>
            </c:spPr>
          </c:dPt>
          <c:dPt>
            <c:idx val="643"/>
            <c:spPr>
              <a:solidFill>
                <a:srgbClr val="646464"/>
              </a:solidFill>
            </c:spPr>
          </c:dPt>
          <c:dPt>
            <c:idx val="644"/>
            <c:spPr>
              <a:solidFill>
                <a:srgbClr val="646464"/>
              </a:solidFill>
            </c:spPr>
          </c:dPt>
          <c:dPt>
            <c:idx val="645"/>
            <c:spPr>
              <a:solidFill>
                <a:srgbClr val="646464"/>
              </a:solidFill>
            </c:spPr>
          </c:dPt>
          <c:dPt>
            <c:idx val="646"/>
            <c:spPr>
              <a:solidFill>
                <a:srgbClr val="646464"/>
              </a:solidFill>
            </c:spPr>
          </c:dPt>
          <c:dPt>
            <c:idx val="647"/>
            <c:spPr>
              <a:solidFill>
                <a:srgbClr val="646464"/>
              </a:solidFill>
            </c:spPr>
          </c:dPt>
          <c:dPt>
            <c:idx val="648"/>
            <c:spPr>
              <a:solidFill>
                <a:srgbClr val="646464"/>
              </a:solidFill>
            </c:spPr>
          </c:dPt>
          <c:dPt>
            <c:idx val="649"/>
            <c:spPr>
              <a:solidFill>
                <a:srgbClr val="646464"/>
              </a:solidFill>
            </c:spPr>
          </c:dPt>
          <c:dPt>
            <c:idx val="650"/>
            <c:spPr>
              <a:solidFill>
                <a:srgbClr val="646464"/>
              </a:solidFill>
            </c:spPr>
          </c:dPt>
          <c:dPt>
            <c:idx val="651"/>
            <c:spPr>
              <a:solidFill>
                <a:srgbClr val="646464"/>
              </a:solidFill>
            </c:spPr>
          </c:dPt>
          <c:dPt>
            <c:idx val="652"/>
            <c:spPr>
              <a:solidFill>
                <a:srgbClr val="646464"/>
              </a:solidFill>
            </c:spPr>
          </c:dPt>
          <c:dPt>
            <c:idx val="653"/>
            <c:spPr>
              <a:solidFill>
                <a:srgbClr val="646464"/>
              </a:solidFill>
            </c:spPr>
          </c:dPt>
          <c:dPt>
            <c:idx val="654"/>
            <c:spPr>
              <a:solidFill>
                <a:srgbClr val="646464"/>
              </a:solidFill>
            </c:spPr>
          </c:dPt>
          <c:dPt>
            <c:idx val="655"/>
            <c:spPr>
              <a:solidFill>
                <a:srgbClr val="646464"/>
              </a:solidFill>
            </c:spPr>
          </c:dPt>
          <c:dPt>
            <c:idx val="656"/>
            <c:spPr>
              <a:solidFill>
                <a:srgbClr val="646464"/>
              </a:solidFill>
            </c:spPr>
          </c:dPt>
          <c:dPt>
            <c:idx val="657"/>
            <c:spPr>
              <a:solidFill>
                <a:srgbClr val="646464"/>
              </a:solidFill>
            </c:spPr>
          </c:dPt>
          <c:dPt>
            <c:idx val="658"/>
            <c:spPr>
              <a:solidFill>
                <a:srgbClr val="646464"/>
              </a:solidFill>
            </c:spPr>
          </c:dPt>
          <c:dPt>
            <c:idx val="659"/>
            <c:spPr>
              <a:solidFill>
                <a:srgbClr val="646464"/>
              </a:solidFill>
            </c:spPr>
          </c:dPt>
          <c:dPt>
            <c:idx val="660"/>
            <c:spPr>
              <a:solidFill>
                <a:srgbClr val="646464"/>
              </a:solidFill>
            </c:spPr>
          </c:dPt>
          <c:dPt>
            <c:idx val="661"/>
            <c:spPr>
              <a:solidFill>
                <a:srgbClr val="646464"/>
              </a:solidFill>
            </c:spPr>
          </c:dPt>
          <c:dPt>
            <c:idx val="662"/>
            <c:spPr>
              <a:solidFill>
                <a:srgbClr val="646464"/>
              </a:solidFill>
            </c:spPr>
          </c:dPt>
          <c:dPt>
            <c:idx val="663"/>
            <c:spPr>
              <a:solidFill>
                <a:srgbClr val="646464"/>
              </a:solidFill>
            </c:spPr>
          </c:dPt>
          <c:dPt>
            <c:idx val="664"/>
            <c:spPr>
              <a:solidFill>
                <a:srgbClr val="646464"/>
              </a:solidFill>
            </c:spPr>
          </c:dPt>
          <c:dPt>
            <c:idx val="665"/>
            <c:spPr>
              <a:solidFill>
                <a:srgbClr val="646464"/>
              </a:solidFill>
            </c:spPr>
          </c:dPt>
          <c:dPt>
            <c:idx val="666"/>
            <c:spPr>
              <a:solidFill>
                <a:srgbClr val="646464"/>
              </a:solidFill>
            </c:spPr>
          </c:dPt>
          <c:dPt>
            <c:idx val="667"/>
            <c:spPr>
              <a:solidFill>
                <a:srgbClr val="646464"/>
              </a:solidFill>
            </c:spPr>
          </c:dPt>
          <c:dPt>
            <c:idx val="668"/>
            <c:spPr>
              <a:solidFill>
                <a:srgbClr val="646464"/>
              </a:solidFill>
            </c:spPr>
          </c:dPt>
          <c:dPt>
            <c:idx val="669"/>
            <c:spPr>
              <a:solidFill>
                <a:srgbClr val="646464"/>
              </a:solidFill>
            </c:spPr>
          </c:dPt>
          <c:dPt>
            <c:idx val="670"/>
            <c:spPr>
              <a:solidFill>
                <a:srgbClr val="646464"/>
              </a:solidFill>
            </c:spPr>
          </c:dPt>
          <c:dPt>
            <c:idx val="671"/>
            <c:spPr>
              <a:solidFill>
                <a:srgbClr val="646464"/>
              </a:solidFill>
            </c:spPr>
          </c:dPt>
          <c:dPt>
            <c:idx val="672"/>
            <c:spPr>
              <a:solidFill>
                <a:srgbClr val="646464"/>
              </a:solidFill>
            </c:spPr>
          </c:dPt>
          <c:dPt>
            <c:idx val="673"/>
            <c:spPr>
              <a:solidFill>
                <a:srgbClr val="646464"/>
              </a:solidFill>
            </c:spPr>
          </c:dPt>
          <c:dPt>
            <c:idx val="674"/>
            <c:spPr>
              <a:solidFill>
                <a:srgbClr val="646464"/>
              </a:solidFill>
            </c:spPr>
          </c:dPt>
          <c:dPt>
            <c:idx val="675"/>
            <c:spPr>
              <a:solidFill>
                <a:srgbClr val="646464"/>
              </a:solidFill>
            </c:spPr>
          </c:dPt>
          <c:dPt>
            <c:idx val="676"/>
            <c:spPr>
              <a:solidFill>
                <a:srgbClr val="646464"/>
              </a:solidFill>
            </c:spPr>
          </c:dPt>
          <c:dPt>
            <c:idx val="677"/>
            <c:spPr>
              <a:solidFill>
                <a:srgbClr val="646464"/>
              </a:solidFill>
            </c:spPr>
          </c:dPt>
          <c:dPt>
            <c:idx val="678"/>
            <c:spPr>
              <a:solidFill>
                <a:srgbClr val="646464"/>
              </a:solidFill>
            </c:spPr>
          </c:dPt>
          <c:dPt>
            <c:idx val="679"/>
            <c:spPr>
              <a:solidFill>
                <a:srgbClr val="646464"/>
              </a:solidFill>
            </c:spPr>
          </c:dPt>
          <c:dPt>
            <c:idx val="680"/>
            <c:spPr>
              <a:solidFill>
                <a:srgbClr val="646464"/>
              </a:solidFill>
            </c:spPr>
          </c:dPt>
          <c:dPt>
            <c:idx val="681"/>
            <c:spPr>
              <a:solidFill>
                <a:srgbClr val="646464"/>
              </a:solidFill>
            </c:spPr>
          </c:dPt>
          <c:dPt>
            <c:idx val="682"/>
            <c:spPr>
              <a:solidFill>
                <a:srgbClr val="646464"/>
              </a:solidFill>
            </c:spPr>
          </c:dPt>
          <c:dPt>
            <c:idx val="683"/>
            <c:spPr>
              <a:solidFill>
                <a:srgbClr val="646464"/>
              </a:solidFill>
            </c:spPr>
          </c:dPt>
          <c:dPt>
            <c:idx val="684"/>
            <c:spPr>
              <a:solidFill>
                <a:srgbClr val="646464"/>
              </a:solidFill>
            </c:spPr>
          </c:dPt>
          <c:dPt>
            <c:idx val="685"/>
            <c:spPr>
              <a:solidFill>
                <a:srgbClr val="646464"/>
              </a:solidFill>
            </c:spPr>
          </c:dPt>
          <c:dPt>
            <c:idx val="686"/>
            <c:spPr>
              <a:solidFill>
                <a:srgbClr val="646464"/>
              </a:solidFill>
            </c:spPr>
          </c:dPt>
          <c:dPt>
            <c:idx val="687"/>
            <c:spPr>
              <a:solidFill>
                <a:srgbClr val="646464"/>
              </a:solidFill>
            </c:spPr>
          </c:dPt>
          <c:dPt>
            <c:idx val="688"/>
            <c:spPr>
              <a:solidFill>
                <a:srgbClr val="646464"/>
              </a:solidFill>
            </c:spPr>
          </c:dPt>
          <c:dPt>
            <c:idx val="689"/>
            <c:spPr>
              <a:solidFill>
                <a:srgbClr val="646464"/>
              </a:solidFill>
            </c:spPr>
          </c:dPt>
          <c:dPt>
            <c:idx val="690"/>
            <c:spPr>
              <a:solidFill>
                <a:srgbClr val="646464"/>
              </a:solidFill>
            </c:spPr>
          </c:dPt>
          <c:dPt>
            <c:idx val="691"/>
            <c:spPr>
              <a:solidFill>
                <a:srgbClr val="646464"/>
              </a:solidFill>
            </c:spPr>
          </c:dPt>
          <c:dPt>
            <c:idx val="692"/>
            <c:spPr>
              <a:solidFill>
                <a:srgbClr val="646464"/>
              </a:solidFill>
            </c:spPr>
          </c:dPt>
          <c:dPt>
            <c:idx val="693"/>
            <c:spPr>
              <a:solidFill>
                <a:srgbClr val="646464"/>
              </a:solidFill>
            </c:spPr>
          </c:dPt>
          <c:dPt>
            <c:idx val="694"/>
            <c:spPr>
              <a:solidFill>
                <a:srgbClr val="646464"/>
              </a:solidFill>
            </c:spPr>
          </c:dPt>
          <c:dPt>
            <c:idx val="695"/>
            <c:spPr>
              <a:solidFill>
                <a:srgbClr val="646464"/>
              </a:solidFill>
            </c:spPr>
          </c:dPt>
          <c:dPt>
            <c:idx val="696"/>
            <c:spPr>
              <a:solidFill>
                <a:srgbClr val="646464"/>
              </a:solidFill>
            </c:spPr>
          </c:dPt>
          <c:dPt>
            <c:idx val="697"/>
            <c:spPr>
              <a:solidFill>
                <a:srgbClr val="646464"/>
              </a:solidFill>
            </c:spPr>
          </c:dPt>
          <c:dPt>
            <c:idx val="698"/>
            <c:spPr>
              <a:solidFill>
                <a:srgbClr val="646464"/>
              </a:solidFill>
            </c:spPr>
          </c:dPt>
          <c:dPt>
            <c:idx val="699"/>
            <c:spPr>
              <a:solidFill>
                <a:srgbClr val="646464"/>
              </a:solidFill>
            </c:spPr>
          </c:dPt>
          <c:dPt>
            <c:idx val="700"/>
            <c:spPr>
              <a:solidFill>
                <a:srgbClr val="646464"/>
              </a:solidFill>
            </c:spPr>
          </c:dPt>
          <c:dPt>
            <c:idx val="701"/>
            <c:spPr>
              <a:solidFill>
                <a:srgbClr val="646464"/>
              </a:solidFill>
            </c:spPr>
          </c:dPt>
          <c:dPt>
            <c:idx val="702"/>
            <c:spPr>
              <a:solidFill>
                <a:srgbClr val="646464"/>
              </a:solidFill>
            </c:spPr>
          </c:dPt>
          <c:dPt>
            <c:idx val="703"/>
            <c:spPr>
              <a:solidFill>
                <a:srgbClr val="646464"/>
              </a:solidFill>
            </c:spPr>
          </c:dPt>
          <c:dPt>
            <c:idx val="704"/>
            <c:spPr>
              <a:solidFill>
                <a:srgbClr val="646464"/>
              </a:solidFill>
            </c:spPr>
          </c:dPt>
          <c:dPt>
            <c:idx val="705"/>
            <c:spPr>
              <a:solidFill>
                <a:srgbClr val="646464"/>
              </a:solidFill>
            </c:spPr>
          </c:dPt>
          <c:dPt>
            <c:idx val="706"/>
            <c:spPr>
              <a:solidFill>
                <a:srgbClr val="646464"/>
              </a:solidFill>
            </c:spPr>
          </c:dPt>
          <c:dPt>
            <c:idx val="707"/>
            <c:spPr>
              <a:solidFill>
                <a:srgbClr val="646464"/>
              </a:solidFill>
            </c:spPr>
          </c:dPt>
          <c:dPt>
            <c:idx val="708"/>
            <c:spPr>
              <a:solidFill>
                <a:srgbClr val="646464"/>
              </a:solidFill>
            </c:spPr>
          </c:dPt>
          <c:dPt>
            <c:idx val="709"/>
            <c:spPr>
              <a:solidFill>
                <a:srgbClr val="646464"/>
              </a:solidFill>
            </c:spPr>
          </c:dPt>
          <c:dPt>
            <c:idx val="710"/>
            <c:spPr>
              <a:solidFill>
                <a:srgbClr val="646464"/>
              </a:solidFill>
            </c:spPr>
          </c:dPt>
          <c:dPt>
            <c:idx val="711"/>
            <c:spPr>
              <a:solidFill>
                <a:srgbClr val="646464"/>
              </a:solidFill>
            </c:spPr>
          </c:dPt>
          <c:dPt>
            <c:idx val="712"/>
            <c:spPr>
              <a:solidFill>
                <a:srgbClr val="646464"/>
              </a:solidFill>
            </c:spPr>
          </c:dPt>
          <c:dPt>
            <c:idx val="713"/>
            <c:spPr>
              <a:solidFill>
                <a:srgbClr val="646464"/>
              </a:solidFill>
            </c:spPr>
          </c:dPt>
          <c:dPt>
            <c:idx val="714"/>
            <c:spPr>
              <a:solidFill>
                <a:srgbClr val="646464"/>
              </a:solidFill>
            </c:spPr>
          </c:dPt>
          <c:dPt>
            <c:idx val="715"/>
            <c:spPr>
              <a:solidFill>
                <a:srgbClr val="646464"/>
              </a:solidFill>
            </c:spPr>
          </c:dPt>
          <c:dPt>
            <c:idx val="716"/>
            <c:spPr>
              <a:solidFill>
                <a:srgbClr val="646464"/>
              </a:solidFill>
            </c:spPr>
          </c:dPt>
          <c:dPt>
            <c:idx val="717"/>
            <c:spPr>
              <a:solidFill>
                <a:srgbClr val="646464"/>
              </a:solidFill>
            </c:spPr>
          </c:dPt>
          <c:dPt>
            <c:idx val="718"/>
            <c:spPr>
              <a:solidFill>
                <a:srgbClr val="646464"/>
              </a:solidFill>
            </c:spPr>
          </c:dPt>
          <c:dPt>
            <c:idx val="719"/>
            <c:spPr>
              <a:solidFill>
                <a:srgbClr val="646464"/>
              </a:solidFill>
            </c:spPr>
          </c:dPt>
          <c:dPt>
            <c:idx val="720"/>
            <c:spPr>
              <a:solidFill>
                <a:srgbClr val="646464"/>
              </a:solidFill>
            </c:spPr>
          </c:dPt>
          <c:dPt>
            <c:idx val="721"/>
            <c:spPr>
              <a:solidFill>
                <a:srgbClr val="646464"/>
              </a:solidFill>
            </c:spPr>
          </c:dPt>
          <c:dPt>
            <c:idx val="722"/>
            <c:spPr>
              <a:solidFill>
                <a:srgbClr val="646464"/>
              </a:solidFill>
            </c:spPr>
          </c:dPt>
          <c:dPt>
            <c:idx val="723"/>
            <c:spPr>
              <a:solidFill>
                <a:srgbClr val="646464"/>
              </a:solidFill>
            </c:spPr>
          </c:dPt>
          <c:dPt>
            <c:idx val="724"/>
            <c:spPr>
              <a:solidFill>
                <a:srgbClr val="646464"/>
              </a:solidFill>
            </c:spPr>
          </c:dPt>
          <c:dPt>
            <c:idx val="725"/>
            <c:spPr>
              <a:solidFill>
                <a:srgbClr val="646464"/>
              </a:solidFill>
            </c:spPr>
          </c:dPt>
          <c:dPt>
            <c:idx val="726"/>
            <c:spPr>
              <a:solidFill>
                <a:srgbClr val="646464"/>
              </a:solidFill>
            </c:spPr>
          </c:dPt>
          <c:dPt>
            <c:idx val="727"/>
            <c:spPr>
              <a:solidFill>
                <a:srgbClr val="646464"/>
              </a:solidFill>
            </c:spPr>
          </c:dPt>
          <c:dPt>
            <c:idx val="728"/>
            <c:spPr>
              <a:solidFill>
                <a:srgbClr val="646464"/>
              </a:solidFill>
            </c:spPr>
          </c:dPt>
          <c:dPt>
            <c:idx val="729"/>
            <c:spPr>
              <a:solidFill>
                <a:srgbClr val="646464"/>
              </a:solidFill>
            </c:spPr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sz="800"/>
                      <a:t>Nippon Sheet Glass Company, Limited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sz="800"/>
                      <a:t>Keppel Corporation Limited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sz="800"/>
                      <a:t>EXEO Group, Inc.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r>
                      <a:rPr sz="800"/>
                      <a:t>COMSYS Holdings Corporation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sz="800"/>
                      <a:t>NHK Spring Co., Ltd.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  <c:showLeaderLines val="1"/>
          </c:dLbls>
          <c:xVal>
            <c:numRef>
              <c:f>Sheet1!$A$2:$A$731</c:f>
              <c:numCache>
                <c:formatCode>General</c:formatCode>
                <c:ptCount val="730"/>
                <c:pt idx="0">
                  <c:v>14.0</c:v>
                </c:pt>
                <c:pt idx="1">
                  <c:v>16.5</c:v>
                </c:pt>
                <c:pt idx="2">
                  <c:v>10.0</c:v>
                </c:pt>
                <c:pt idx="3">
                  <c:v>5.0</c:v>
                </c:pt>
                <c:pt idx="4">
                  <c:v>17.5</c:v>
                </c:pt>
                <c:pt idx="5">
                  <c:v>12.5</c:v>
                </c:pt>
                <c:pt idx="6">
                  <c:v>7.0</c:v>
                </c:pt>
                <c:pt idx="7">
                  <c:v>14.0</c:v>
                </c:pt>
                <c:pt idx="8">
                  <c:v>13.5</c:v>
                </c:pt>
                <c:pt idx="9">
                  <c:v>7.5</c:v>
                </c:pt>
                <c:pt idx="10">
                  <c:v>15.0</c:v>
                </c:pt>
                <c:pt idx="11">
                  <c:v>5.0</c:v>
                </c:pt>
                <c:pt idx="12">
                  <c:v>18.0</c:v>
                </c:pt>
                <c:pt idx="13">
                  <c:v>17.1</c:v>
                </c:pt>
                <c:pt idx="14">
                  <c:v>1.5</c:v>
                </c:pt>
                <c:pt idx="15">
                  <c:v>13.0</c:v>
                </c:pt>
                <c:pt idx="16">
                  <c:v>3.0</c:v>
                </c:pt>
                <c:pt idx="17">
                  <c:v>5.5</c:v>
                </c:pt>
                <c:pt idx="18">
                  <c:v>6.0</c:v>
                </c:pt>
                <c:pt idx="19">
                  <c:v>12.1</c:v>
                </c:pt>
                <c:pt idx="20">
                  <c:v>10.0</c:v>
                </c:pt>
                <c:pt idx="21">
                  <c:v>11.5</c:v>
                </c:pt>
                <c:pt idx="22">
                  <c:v>19.5</c:v>
                </c:pt>
                <c:pt idx="23">
                  <c:v>4.0</c:v>
                </c:pt>
                <c:pt idx="24">
                  <c:v>14.0</c:v>
                </c:pt>
                <c:pt idx="25">
                  <c:v>9.5</c:v>
                </c:pt>
                <c:pt idx="26">
                  <c:v>15.5</c:v>
                </c:pt>
                <c:pt idx="27">
                  <c:v>6.5</c:v>
                </c:pt>
                <c:pt idx="28">
                  <c:v>17.0</c:v>
                </c:pt>
                <c:pt idx="29">
                  <c:v>19.5</c:v>
                </c:pt>
                <c:pt idx="30">
                  <c:v>4.0</c:v>
                </c:pt>
                <c:pt idx="31">
                  <c:v>16.5</c:v>
                </c:pt>
                <c:pt idx="32">
                  <c:v>5.7</c:v>
                </c:pt>
                <c:pt idx="33">
                  <c:v>16.0</c:v>
                </c:pt>
                <c:pt idx="34">
                  <c:v>10.0</c:v>
                </c:pt>
                <c:pt idx="35">
                  <c:v>9.0</c:v>
                </c:pt>
                <c:pt idx="36">
                  <c:v>14.0</c:v>
                </c:pt>
                <c:pt idx="37">
                  <c:v>6.0</c:v>
                </c:pt>
                <c:pt idx="38">
                  <c:v>16.0</c:v>
                </c:pt>
                <c:pt idx="39">
                  <c:v>11.5</c:v>
                </c:pt>
                <c:pt idx="40">
                  <c:v>5.0</c:v>
                </c:pt>
                <c:pt idx="41">
                  <c:v>2.0</c:v>
                </c:pt>
                <c:pt idx="42">
                  <c:v>14.0</c:v>
                </c:pt>
                <c:pt idx="43">
                  <c:v>18.0</c:v>
                </c:pt>
                <c:pt idx="44">
                  <c:v>16.5</c:v>
                </c:pt>
                <c:pt idx="45">
                  <c:v>13.5</c:v>
                </c:pt>
                <c:pt idx="46">
                  <c:v>4.0</c:v>
                </c:pt>
                <c:pt idx="47">
                  <c:v>9.5</c:v>
                </c:pt>
                <c:pt idx="48">
                  <c:v>8.0</c:v>
                </c:pt>
                <c:pt idx="49">
                  <c:v>2.5</c:v>
                </c:pt>
                <c:pt idx="50">
                  <c:v>16.5</c:v>
                </c:pt>
                <c:pt idx="51">
                  <c:v>12.0</c:v>
                </c:pt>
                <c:pt idx="52">
                  <c:v>12.0</c:v>
                </c:pt>
                <c:pt idx="53">
                  <c:v>7.5</c:v>
                </c:pt>
                <c:pt idx="54">
                  <c:v>4.0</c:v>
                </c:pt>
                <c:pt idx="55">
                  <c:v>14.0</c:v>
                </c:pt>
                <c:pt idx="56">
                  <c:v>5.0</c:v>
                </c:pt>
                <c:pt idx="57">
                  <c:v>2.0</c:v>
                </c:pt>
                <c:pt idx="58">
                  <c:v>18.0</c:v>
                </c:pt>
                <c:pt idx="59">
                  <c:v>12.5</c:v>
                </c:pt>
                <c:pt idx="60">
                  <c:v>2.9</c:v>
                </c:pt>
                <c:pt idx="61">
                  <c:v>2.0</c:v>
                </c:pt>
                <c:pt idx="62">
                  <c:v>2.0</c:v>
                </c:pt>
                <c:pt idx="63">
                  <c:v>17.0</c:v>
                </c:pt>
                <c:pt idx="64">
                  <c:v>15.0</c:v>
                </c:pt>
                <c:pt idx="65">
                  <c:v>2.0</c:v>
                </c:pt>
                <c:pt idx="66">
                  <c:v>7.5</c:v>
                </c:pt>
                <c:pt idx="67">
                  <c:v>13.5</c:v>
                </c:pt>
                <c:pt idx="68">
                  <c:v>10.0</c:v>
                </c:pt>
                <c:pt idx="69">
                  <c:v>10.0</c:v>
                </c:pt>
                <c:pt idx="70">
                  <c:v>16.4</c:v>
                </c:pt>
                <c:pt idx="71">
                  <c:v>5.5</c:v>
                </c:pt>
                <c:pt idx="72">
                  <c:v>3.0</c:v>
                </c:pt>
                <c:pt idx="73">
                  <c:v>13.5</c:v>
                </c:pt>
                <c:pt idx="74">
                  <c:v>2.5</c:v>
                </c:pt>
                <c:pt idx="75">
                  <c:v>7.5</c:v>
                </c:pt>
                <c:pt idx="76">
                  <c:v>2.9</c:v>
                </c:pt>
                <c:pt idx="77">
                  <c:v>5.5</c:v>
                </c:pt>
                <c:pt idx="78">
                  <c:v>17.5</c:v>
                </c:pt>
                <c:pt idx="79">
                  <c:v>2.9</c:v>
                </c:pt>
                <c:pt idx="80">
                  <c:v>3.0</c:v>
                </c:pt>
                <c:pt idx="81">
                  <c:v>13.5</c:v>
                </c:pt>
                <c:pt idx="82">
                  <c:v>8.5</c:v>
                </c:pt>
                <c:pt idx="83">
                  <c:v>16.5</c:v>
                </c:pt>
                <c:pt idx="84">
                  <c:v>4.0</c:v>
                </c:pt>
                <c:pt idx="85">
                  <c:v>12.0</c:v>
                </c:pt>
                <c:pt idx="86">
                  <c:v>2.9</c:v>
                </c:pt>
                <c:pt idx="87">
                  <c:v>16.0</c:v>
                </c:pt>
                <c:pt idx="88">
                  <c:v>4.0</c:v>
                </c:pt>
                <c:pt idx="89">
                  <c:v>1.5</c:v>
                </c:pt>
                <c:pt idx="90">
                  <c:v>5.5</c:v>
                </c:pt>
                <c:pt idx="91">
                  <c:v>11.0</c:v>
                </c:pt>
                <c:pt idx="92">
                  <c:v>14.0</c:v>
                </c:pt>
                <c:pt idx="93">
                  <c:v>12.0</c:v>
                </c:pt>
                <c:pt idx="94">
                  <c:v>16.4</c:v>
                </c:pt>
                <c:pt idx="95">
                  <c:v>10.5</c:v>
                </c:pt>
                <c:pt idx="96">
                  <c:v>13.5</c:v>
                </c:pt>
                <c:pt idx="97">
                  <c:v>9.5</c:v>
                </c:pt>
                <c:pt idx="98">
                  <c:v>5.7</c:v>
                </c:pt>
                <c:pt idx="99">
                  <c:v>6.0</c:v>
                </c:pt>
                <c:pt idx="100">
                  <c:v>2.9</c:v>
                </c:pt>
                <c:pt idx="101">
                  <c:v>12.0</c:v>
                </c:pt>
                <c:pt idx="102">
                  <c:v>3.5</c:v>
                </c:pt>
                <c:pt idx="103">
                  <c:v>0.0</c:v>
                </c:pt>
                <c:pt idx="104">
                  <c:v>13.0</c:v>
                </c:pt>
                <c:pt idx="105">
                  <c:v>2.0</c:v>
                </c:pt>
                <c:pt idx="106">
                  <c:v>8.0</c:v>
                </c:pt>
                <c:pt idx="107">
                  <c:v>11.0</c:v>
                </c:pt>
                <c:pt idx="108">
                  <c:v>2.0</c:v>
                </c:pt>
                <c:pt idx="109">
                  <c:v>10.0</c:v>
                </c:pt>
                <c:pt idx="110">
                  <c:v>2.0</c:v>
                </c:pt>
                <c:pt idx="111">
                  <c:v>13.0</c:v>
                </c:pt>
                <c:pt idx="112">
                  <c:v>18.5</c:v>
                </c:pt>
                <c:pt idx="113">
                  <c:v>0.5</c:v>
                </c:pt>
                <c:pt idx="114">
                  <c:v>4.5</c:v>
                </c:pt>
                <c:pt idx="115">
                  <c:v>13.5</c:v>
                </c:pt>
                <c:pt idx="116">
                  <c:v>4.0</c:v>
                </c:pt>
                <c:pt idx="117">
                  <c:v>3.6</c:v>
                </c:pt>
                <c:pt idx="118">
                  <c:v>5.0</c:v>
                </c:pt>
                <c:pt idx="119">
                  <c:v>7.5</c:v>
                </c:pt>
                <c:pt idx="120">
                  <c:v>18.0</c:v>
                </c:pt>
                <c:pt idx="121">
                  <c:v>2.0</c:v>
                </c:pt>
                <c:pt idx="122">
                  <c:v>2.0</c:v>
                </c:pt>
                <c:pt idx="123">
                  <c:v>14.0</c:v>
                </c:pt>
                <c:pt idx="124">
                  <c:v>8.5</c:v>
                </c:pt>
                <c:pt idx="125">
                  <c:v>8.5</c:v>
                </c:pt>
                <c:pt idx="126">
                  <c:v>8.0</c:v>
                </c:pt>
                <c:pt idx="127">
                  <c:v>14.0</c:v>
                </c:pt>
                <c:pt idx="128">
                  <c:v>8.0</c:v>
                </c:pt>
                <c:pt idx="129">
                  <c:v>13.5</c:v>
                </c:pt>
                <c:pt idx="130">
                  <c:v>17.0</c:v>
                </c:pt>
                <c:pt idx="131">
                  <c:v>0.0</c:v>
                </c:pt>
                <c:pt idx="132">
                  <c:v>13.0</c:v>
                </c:pt>
                <c:pt idx="133">
                  <c:v>16.0</c:v>
                </c:pt>
                <c:pt idx="134">
                  <c:v>13.0</c:v>
                </c:pt>
                <c:pt idx="135">
                  <c:v>7.0</c:v>
                </c:pt>
                <c:pt idx="136">
                  <c:v>4.0</c:v>
                </c:pt>
                <c:pt idx="137">
                  <c:v>6.5</c:v>
                </c:pt>
                <c:pt idx="138">
                  <c:v>17.0</c:v>
                </c:pt>
                <c:pt idx="139">
                  <c:v>18.5</c:v>
                </c:pt>
                <c:pt idx="140">
                  <c:v>10.5</c:v>
                </c:pt>
                <c:pt idx="141">
                  <c:v>9.0</c:v>
                </c:pt>
                <c:pt idx="142">
                  <c:v>19.0</c:v>
                </c:pt>
                <c:pt idx="143">
                  <c:v>0.0</c:v>
                </c:pt>
                <c:pt idx="144">
                  <c:v>2.0</c:v>
                </c:pt>
                <c:pt idx="145">
                  <c:v>16.5</c:v>
                </c:pt>
                <c:pt idx="146">
                  <c:v>1.4</c:v>
                </c:pt>
                <c:pt idx="147">
                  <c:v>16.0</c:v>
                </c:pt>
                <c:pt idx="148">
                  <c:v>10.0</c:v>
                </c:pt>
                <c:pt idx="149">
                  <c:v>15.5</c:v>
                </c:pt>
                <c:pt idx="150">
                  <c:v>1.0</c:v>
                </c:pt>
                <c:pt idx="151">
                  <c:v>15.5</c:v>
                </c:pt>
                <c:pt idx="152">
                  <c:v>11.5</c:v>
                </c:pt>
                <c:pt idx="153">
                  <c:v>0.0</c:v>
                </c:pt>
                <c:pt idx="154">
                  <c:v>3.0</c:v>
                </c:pt>
                <c:pt idx="155">
                  <c:v>0.0</c:v>
                </c:pt>
                <c:pt idx="156">
                  <c:v>6.5</c:v>
                </c:pt>
                <c:pt idx="157">
                  <c:v>18.5</c:v>
                </c:pt>
                <c:pt idx="158">
                  <c:v>7.0</c:v>
                </c:pt>
                <c:pt idx="159">
                  <c:v>3.0</c:v>
                </c:pt>
                <c:pt idx="160">
                  <c:v>2.0</c:v>
                </c:pt>
                <c:pt idx="161">
                  <c:v>13.0</c:v>
                </c:pt>
                <c:pt idx="162">
                  <c:v>12.0</c:v>
                </c:pt>
                <c:pt idx="163">
                  <c:v>15.5</c:v>
                </c:pt>
                <c:pt idx="164">
                  <c:v>12.5</c:v>
                </c:pt>
                <c:pt idx="165">
                  <c:v>12.0</c:v>
                </c:pt>
                <c:pt idx="166">
                  <c:v>6.5</c:v>
                </c:pt>
                <c:pt idx="167">
                  <c:v>14.0</c:v>
                </c:pt>
                <c:pt idx="168">
                  <c:v>6.5</c:v>
                </c:pt>
                <c:pt idx="169">
                  <c:v>2.0</c:v>
                </c:pt>
                <c:pt idx="170">
                  <c:v>17.5</c:v>
                </c:pt>
                <c:pt idx="171">
                  <c:v>2.0</c:v>
                </c:pt>
                <c:pt idx="172">
                  <c:v>15.0</c:v>
                </c:pt>
                <c:pt idx="173">
                  <c:v>16.5</c:v>
                </c:pt>
                <c:pt idx="174">
                  <c:v>4.5</c:v>
                </c:pt>
                <c:pt idx="175">
                  <c:v>16.0</c:v>
                </c:pt>
                <c:pt idx="176">
                  <c:v>3.5</c:v>
                </c:pt>
                <c:pt idx="177">
                  <c:v>17.0</c:v>
                </c:pt>
                <c:pt idx="178">
                  <c:v>12.5</c:v>
                </c:pt>
                <c:pt idx="179">
                  <c:v>0.5</c:v>
                </c:pt>
                <c:pt idx="180">
                  <c:v>13.0</c:v>
                </c:pt>
                <c:pt idx="181">
                  <c:v>3.0</c:v>
                </c:pt>
                <c:pt idx="182">
                  <c:v>9.5</c:v>
                </c:pt>
                <c:pt idx="183">
                  <c:v>13.0</c:v>
                </c:pt>
                <c:pt idx="184">
                  <c:v>17.1</c:v>
                </c:pt>
                <c:pt idx="185">
                  <c:v>6.0</c:v>
                </c:pt>
                <c:pt idx="186">
                  <c:v>8.5</c:v>
                </c:pt>
                <c:pt idx="187">
                  <c:v>4.5</c:v>
                </c:pt>
                <c:pt idx="188">
                  <c:v>6.5</c:v>
                </c:pt>
                <c:pt idx="189">
                  <c:v>10.0</c:v>
                </c:pt>
                <c:pt idx="190">
                  <c:v>11.5</c:v>
                </c:pt>
                <c:pt idx="191">
                  <c:v>14.5</c:v>
                </c:pt>
                <c:pt idx="192">
                  <c:v>11.5</c:v>
                </c:pt>
                <c:pt idx="193">
                  <c:v>10.0</c:v>
                </c:pt>
                <c:pt idx="194">
                  <c:v>9.5</c:v>
                </c:pt>
                <c:pt idx="195">
                  <c:v>6.0</c:v>
                </c:pt>
                <c:pt idx="196">
                  <c:v>13.5</c:v>
                </c:pt>
                <c:pt idx="197">
                  <c:v>4.5</c:v>
                </c:pt>
                <c:pt idx="198">
                  <c:v>6.0</c:v>
                </c:pt>
                <c:pt idx="199">
                  <c:v>15.5</c:v>
                </c:pt>
                <c:pt idx="200">
                  <c:v>8.0</c:v>
                </c:pt>
                <c:pt idx="201">
                  <c:v>11.0</c:v>
                </c:pt>
                <c:pt idx="202">
                  <c:v>5.5</c:v>
                </c:pt>
                <c:pt idx="203">
                  <c:v>14.0</c:v>
                </c:pt>
                <c:pt idx="204">
                  <c:v>2.0</c:v>
                </c:pt>
                <c:pt idx="205">
                  <c:v>10.0</c:v>
                </c:pt>
                <c:pt idx="206">
                  <c:v>16.0</c:v>
                </c:pt>
                <c:pt idx="207">
                  <c:v>16.5</c:v>
                </c:pt>
                <c:pt idx="208">
                  <c:v>13.5</c:v>
                </c:pt>
                <c:pt idx="209">
                  <c:v>2.5</c:v>
                </c:pt>
                <c:pt idx="210">
                  <c:v>16.5</c:v>
                </c:pt>
                <c:pt idx="211">
                  <c:v>6.0</c:v>
                </c:pt>
                <c:pt idx="212">
                  <c:v>3.5</c:v>
                </c:pt>
                <c:pt idx="213">
                  <c:v>15.5</c:v>
                </c:pt>
                <c:pt idx="214">
                  <c:v>2.9</c:v>
                </c:pt>
                <c:pt idx="215">
                  <c:v>4.5</c:v>
                </c:pt>
                <c:pt idx="216">
                  <c:v>13.0</c:v>
                </c:pt>
                <c:pt idx="217">
                  <c:v>0.5</c:v>
                </c:pt>
                <c:pt idx="218">
                  <c:v>15.0</c:v>
                </c:pt>
                <c:pt idx="219">
                  <c:v>12.5</c:v>
                </c:pt>
                <c:pt idx="220">
                  <c:v>13.5</c:v>
                </c:pt>
                <c:pt idx="221">
                  <c:v>12.5</c:v>
                </c:pt>
                <c:pt idx="222">
                  <c:v>17.1</c:v>
                </c:pt>
                <c:pt idx="223">
                  <c:v>2.0</c:v>
                </c:pt>
                <c:pt idx="224">
                  <c:v>2.1</c:v>
                </c:pt>
                <c:pt idx="225">
                  <c:v>6.5</c:v>
                </c:pt>
                <c:pt idx="226">
                  <c:v>1.0</c:v>
                </c:pt>
                <c:pt idx="227">
                  <c:v>14.5</c:v>
                </c:pt>
                <c:pt idx="228">
                  <c:v>6.0</c:v>
                </c:pt>
                <c:pt idx="229">
                  <c:v>11.5</c:v>
                </c:pt>
                <c:pt idx="230">
                  <c:v>3.5</c:v>
                </c:pt>
                <c:pt idx="231">
                  <c:v>14.5</c:v>
                </c:pt>
                <c:pt idx="232">
                  <c:v>4.0</c:v>
                </c:pt>
                <c:pt idx="233">
                  <c:v>5.0</c:v>
                </c:pt>
                <c:pt idx="234">
                  <c:v>13.0</c:v>
                </c:pt>
                <c:pt idx="235">
                  <c:v>2.0</c:v>
                </c:pt>
                <c:pt idx="236">
                  <c:v>12.0</c:v>
                </c:pt>
                <c:pt idx="237">
                  <c:v>9.0</c:v>
                </c:pt>
                <c:pt idx="238">
                  <c:v>0.0</c:v>
                </c:pt>
                <c:pt idx="239">
                  <c:v>10.0</c:v>
                </c:pt>
                <c:pt idx="240">
                  <c:v>17.0</c:v>
                </c:pt>
                <c:pt idx="241">
                  <c:v>0.5</c:v>
                </c:pt>
                <c:pt idx="242">
                  <c:v>2.5</c:v>
                </c:pt>
                <c:pt idx="243">
                  <c:v>15.5</c:v>
                </c:pt>
                <c:pt idx="244">
                  <c:v>17.1</c:v>
                </c:pt>
                <c:pt idx="245">
                  <c:v>2.0</c:v>
                </c:pt>
                <c:pt idx="246">
                  <c:v>13.5</c:v>
                </c:pt>
                <c:pt idx="247">
                  <c:v>12.5</c:v>
                </c:pt>
                <c:pt idx="248">
                  <c:v>0.5</c:v>
                </c:pt>
                <c:pt idx="249">
                  <c:v>2.0</c:v>
                </c:pt>
                <c:pt idx="250">
                  <c:v>13.5</c:v>
                </c:pt>
                <c:pt idx="251">
                  <c:v>13.5</c:v>
                </c:pt>
                <c:pt idx="252">
                  <c:v>16.0</c:v>
                </c:pt>
                <c:pt idx="253">
                  <c:v>0.5</c:v>
                </c:pt>
                <c:pt idx="254">
                  <c:v>18.5</c:v>
                </c:pt>
                <c:pt idx="255">
                  <c:v>6.0</c:v>
                </c:pt>
                <c:pt idx="256">
                  <c:v>13.5</c:v>
                </c:pt>
                <c:pt idx="257">
                  <c:v>2.0</c:v>
                </c:pt>
                <c:pt idx="258">
                  <c:v>2.0</c:v>
                </c:pt>
                <c:pt idx="259">
                  <c:v>13.5</c:v>
                </c:pt>
                <c:pt idx="260">
                  <c:v>4.5</c:v>
                </c:pt>
                <c:pt idx="261">
                  <c:v>13.5</c:v>
                </c:pt>
                <c:pt idx="262">
                  <c:v>3.5</c:v>
                </c:pt>
                <c:pt idx="263">
                  <c:v>2.9</c:v>
                </c:pt>
                <c:pt idx="264">
                  <c:v>6.0</c:v>
                </c:pt>
                <c:pt idx="265">
                  <c:v>2.0</c:v>
                </c:pt>
                <c:pt idx="266">
                  <c:v>2.0</c:v>
                </c:pt>
                <c:pt idx="267">
                  <c:v>13.5</c:v>
                </c:pt>
                <c:pt idx="268">
                  <c:v>0.0</c:v>
                </c:pt>
                <c:pt idx="269">
                  <c:v>3.5</c:v>
                </c:pt>
                <c:pt idx="270">
                  <c:v>4.0</c:v>
                </c:pt>
                <c:pt idx="271">
                  <c:v>0.5</c:v>
                </c:pt>
                <c:pt idx="272">
                  <c:v>8.5</c:v>
                </c:pt>
                <c:pt idx="273">
                  <c:v>14.3</c:v>
                </c:pt>
                <c:pt idx="274">
                  <c:v>9.0</c:v>
                </c:pt>
                <c:pt idx="275">
                  <c:v>9.5</c:v>
                </c:pt>
                <c:pt idx="276">
                  <c:v>13.0</c:v>
                </c:pt>
                <c:pt idx="277">
                  <c:v>17.1</c:v>
                </c:pt>
                <c:pt idx="278">
                  <c:v>1.5</c:v>
                </c:pt>
                <c:pt idx="279">
                  <c:v>0.5</c:v>
                </c:pt>
                <c:pt idx="280">
                  <c:v>17.0</c:v>
                </c:pt>
                <c:pt idx="281">
                  <c:v>12.0</c:v>
                </c:pt>
                <c:pt idx="282">
                  <c:v>10.0</c:v>
                </c:pt>
                <c:pt idx="283">
                  <c:v>2.5</c:v>
                </c:pt>
                <c:pt idx="284">
                  <c:v>1.4</c:v>
                </c:pt>
                <c:pt idx="285">
                  <c:v>1.0</c:v>
                </c:pt>
                <c:pt idx="286">
                  <c:v>14.3</c:v>
                </c:pt>
                <c:pt idx="287">
                  <c:v>14.3</c:v>
                </c:pt>
                <c:pt idx="288">
                  <c:v>12.0</c:v>
                </c:pt>
                <c:pt idx="289">
                  <c:v>4.5</c:v>
                </c:pt>
                <c:pt idx="290">
                  <c:v>3.5</c:v>
                </c:pt>
                <c:pt idx="291">
                  <c:v>3.0</c:v>
                </c:pt>
                <c:pt idx="292">
                  <c:v>9.5</c:v>
                </c:pt>
                <c:pt idx="293">
                  <c:v>5.5</c:v>
                </c:pt>
                <c:pt idx="294">
                  <c:v>17.5</c:v>
                </c:pt>
                <c:pt idx="295">
                  <c:v>13.5</c:v>
                </c:pt>
                <c:pt idx="296">
                  <c:v>1.0</c:v>
                </c:pt>
                <c:pt idx="297">
                  <c:v>12.0</c:v>
                </c:pt>
                <c:pt idx="298">
                  <c:v>3.5</c:v>
                </c:pt>
                <c:pt idx="299">
                  <c:v>12.0</c:v>
                </c:pt>
                <c:pt idx="300">
                  <c:v>1.5</c:v>
                </c:pt>
                <c:pt idx="301">
                  <c:v>11.5</c:v>
                </c:pt>
                <c:pt idx="302">
                  <c:v>5.5</c:v>
                </c:pt>
                <c:pt idx="303">
                  <c:v>10.0</c:v>
                </c:pt>
                <c:pt idx="304">
                  <c:v>9.5</c:v>
                </c:pt>
                <c:pt idx="305">
                  <c:v>4.0</c:v>
                </c:pt>
                <c:pt idx="306">
                  <c:v>6.0</c:v>
                </c:pt>
                <c:pt idx="307">
                  <c:v>8.0</c:v>
                </c:pt>
                <c:pt idx="308">
                  <c:v>17.5</c:v>
                </c:pt>
                <c:pt idx="309">
                  <c:v>0.5</c:v>
                </c:pt>
                <c:pt idx="310">
                  <c:v>4.0</c:v>
                </c:pt>
                <c:pt idx="311">
                  <c:v>5.0</c:v>
                </c:pt>
                <c:pt idx="312">
                  <c:v>4.0</c:v>
                </c:pt>
                <c:pt idx="313">
                  <c:v>3.6</c:v>
                </c:pt>
                <c:pt idx="314">
                  <c:v>15.0</c:v>
                </c:pt>
                <c:pt idx="315">
                  <c:v>17.5</c:v>
                </c:pt>
                <c:pt idx="316">
                  <c:v>10.5</c:v>
                </c:pt>
                <c:pt idx="317">
                  <c:v>15.5</c:v>
                </c:pt>
                <c:pt idx="318">
                  <c:v>1.0</c:v>
                </c:pt>
                <c:pt idx="319">
                  <c:v>11.0</c:v>
                </c:pt>
                <c:pt idx="320">
                  <c:v>5.0</c:v>
                </c:pt>
                <c:pt idx="321">
                  <c:v>3.0</c:v>
                </c:pt>
                <c:pt idx="322">
                  <c:v>11.0</c:v>
                </c:pt>
                <c:pt idx="323">
                  <c:v>16.5</c:v>
                </c:pt>
                <c:pt idx="324">
                  <c:v>6.5</c:v>
                </c:pt>
                <c:pt idx="325">
                  <c:v>11.5</c:v>
                </c:pt>
                <c:pt idx="326">
                  <c:v>4.5</c:v>
                </c:pt>
                <c:pt idx="327">
                  <c:v>3.5</c:v>
                </c:pt>
                <c:pt idx="328">
                  <c:v>13.0</c:v>
                </c:pt>
                <c:pt idx="329">
                  <c:v>13.5</c:v>
                </c:pt>
                <c:pt idx="330">
                  <c:v>7.5</c:v>
                </c:pt>
                <c:pt idx="331">
                  <c:v>14.5</c:v>
                </c:pt>
                <c:pt idx="332">
                  <c:v>2.5</c:v>
                </c:pt>
                <c:pt idx="333">
                  <c:v>1.0</c:v>
                </c:pt>
                <c:pt idx="334">
                  <c:v>10.0</c:v>
                </c:pt>
                <c:pt idx="335">
                  <c:v>13.0</c:v>
                </c:pt>
                <c:pt idx="336">
                  <c:v>3.6</c:v>
                </c:pt>
                <c:pt idx="337">
                  <c:v>12.0</c:v>
                </c:pt>
                <c:pt idx="338">
                  <c:v>9.0</c:v>
                </c:pt>
                <c:pt idx="339">
                  <c:v>7.5</c:v>
                </c:pt>
                <c:pt idx="340">
                  <c:v>5.0</c:v>
                </c:pt>
                <c:pt idx="341">
                  <c:v>12.0</c:v>
                </c:pt>
                <c:pt idx="342">
                  <c:v>15.0</c:v>
                </c:pt>
                <c:pt idx="343">
                  <c:v>10.0</c:v>
                </c:pt>
                <c:pt idx="344">
                  <c:v>14.3</c:v>
                </c:pt>
                <c:pt idx="345">
                  <c:v>5.0</c:v>
                </c:pt>
                <c:pt idx="346">
                  <c:v>4.0</c:v>
                </c:pt>
                <c:pt idx="347">
                  <c:v>15.0</c:v>
                </c:pt>
                <c:pt idx="348">
                  <c:v>10.0</c:v>
                </c:pt>
                <c:pt idx="349">
                  <c:v>11.0</c:v>
                </c:pt>
                <c:pt idx="350">
                  <c:v>10.0</c:v>
                </c:pt>
                <c:pt idx="351">
                  <c:v>2.0</c:v>
                </c:pt>
                <c:pt idx="352">
                  <c:v>5.0</c:v>
                </c:pt>
                <c:pt idx="353">
                  <c:v>1.4</c:v>
                </c:pt>
                <c:pt idx="354">
                  <c:v>12.0</c:v>
                </c:pt>
                <c:pt idx="355">
                  <c:v>1.0</c:v>
                </c:pt>
                <c:pt idx="356">
                  <c:v>3.0</c:v>
                </c:pt>
                <c:pt idx="357">
                  <c:v>4.5</c:v>
                </c:pt>
                <c:pt idx="358">
                  <c:v>13.6</c:v>
                </c:pt>
                <c:pt idx="359">
                  <c:v>3.0</c:v>
                </c:pt>
                <c:pt idx="360">
                  <c:v>14.5</c:v>
                </c:pt>
                <c:pt idx="361">
                  <c:v>4.5</c:v>
                </c:pt>
                <c:pt idx="362">
                  <c:v>2.0</c:v>
                </c:pt>
                <c:pt idx="363">
                  <c:v>1.5</c:v>
                </c:pt>
                <c:pt idx="364">
                  <c:v>12.0</c:v>
                </c:pt>
                <c:pt idx="365">
                  <c:v>13.0</c:v>
                </c:pt>
                <c:pt idx="366">
                  <c:v>12.5</c:v>
                </c:pt>
                <c:pt idx="367">
                  <c:v>6.5</c:v>
                </c:pt>
                <c:pt idx="368">
                  <c:v>8.0</c:v>
                </c:pt>
                <c:pt idx="369">
                  <c:v>1.4</c:v>
                </c:pt>
                <c:pt idx="370">
                  <c:v>1.0</c:v>
                </c:pt>
                <c:pt idx="371">
                  <c:v>7.5</c:v>
                </c:pt>
                <c:pt idx="372">
                  <c:v>2.1</c:v>
                </c:pt>
                <c:pt idx="373">
                  <c:v>17.0</c:v>
                </c:pt>
                <c:pt idx="374">
                  <c:v>2.5</c:v>
                </c:pt>
                <c:pt idx="375">
                  <c:v>13.0</c:v>
                </c:pt>
                <c:pt idx="376">
                  <c:v>0.0</c:v>
                </c:pt>
                <c:pt idx="377">
                  <c:v>10.7</c:v>
                </c:pt>
                <c:pt idx="378">
                  <c:v>6.5</c:v>
                </c:pt>
                <c:pt idx="379">
                  <c:v>4.0</c:v>
                </c:pt>
                <c:pt idx="380">
                  <c:v>12.0</c:v>
                </c:pt>
                <c:pt idx="381">
                  <c:v>8.5</c:v>
                </c:pt>
                <c:pt idx="382">
                  <c:v>20.0</c:v>
                </c:pt>
                <c:pt idx="383">
                  <c:v>0.0</c:v>
                </c:pt>
                <c:pt idx="384">
                  <c:v>4.5</c:v>
                </c:pt>
                <c:pt idx="385">
                  <c:v>10.5</c:v>
                </c:pt>
                <c:pt idx="386">
                  <c:v>12.0</c:v>
                </c:pt>
                <c:pt idx="387">
                  <c:v>3.6</c:v>
                </c:pt>
                <c:pt idx="388">
                  <c:v>0.5</c:v>
                </c:pt>
                <c:pt idx="389">
                  <c:v>6.0</c:v>
                </c:pt>
                <c:pt idx="390">
                  <c:v>0.0</c:v>
                </c:pt>
                <c:pt idx="391">
                  <c:v>6.5</c:v>
                </c:pt>
                <c:pt idx="392">
                  <c:v>2.0</c:v>
                </c:pt>
                <c:pt idx="393">
                  <c:v>6.0</c:v>
                </c:pt>
                <c:pt idx="394">
                  <c:v>6.0</c:v>
                </c:pt>
                <c:pt idx="395">
                  <c:v>2.0</c:v>
                </c:pt>
                <c:pt idx="396">
                  <c:v>6.0</c:v>
                </c:pt>
                <c:pt idx="397">
                  <c:v>2.5</c:v>
                </c:pt>
                <c:pt idx="398">
                  <c:v>12.0</c:v>
                </c:pt>
                <c:pt idx="399">
                  <c:v>18.0</c:v>
                </c:pt>
                <c:pt idx="400">
                  <c:v>2.9</c:v>
                </c:pt>
                <c:pt idx="401">
                  <c:v>0.0</c:v>
                </c:pt>
                <c:pt idx="402">
                  <c:v>14.0</c:v>
                </c:pt>
                <c:pt idx="403">
                  <c:v>14.0</c:v>
                </c:pt>
                <c:pt idx="404">
                  <c:v>4.5</c:v>
                </c:pt>
                <c:pt idx="405">
                  <c:v>17.1</c:v>
                </c:pt>
                <c:pt idx="406">
                  <c:v>12.0</c:v>
                </c:pt>
                <c:pt idx="407">
                  <c:v>5.5</c:v>
                </c:pt>
                <c:pt idx="408">
                  <c:v>6.0</c:v>
                </c:pt>
                <c:pt idx="409">
                  <c:v>14.0</c:v>
                </c:pt>
                <c:pt idx="410">
                  <c:v>13.5</c:v>
                </c:pt>
                <c:pt idx="411">
                  <c:v>14.0</c:v>
                </c:pt>
                <c:pt idx="412">
                  <c:v>13.5</c:v>
                </c:pt>
                <c:pt idx="413">
                  <c:v>12.5</c:v>
                </c:pt>
                <c:pt idx="414">
                  <c:v>14.0</c:v>
                </c:pt>
                <c:pt idx="415">
                  <c:v>0.5</c:v>
                </c:pt>
                <c:pt idx="416">
                  <c:v>4.0</c:v>
                </c:pt>
                <c:pt idx="417">
                  <c:v>14.0</c:v>
                </c:pt>
                <c:pt idx="418">
                  <c:v>20.0</c:v>
                </c:pt>
                <c:pt idx="419">
                  <c:v>17.5</c:v>
                </c:pt>
                <c:pt idx="420">
                  <c:v>12.0</c:v>
                </c:pt>
                <c:pt idx="421">
                  <c:v>2.0</c:v>
                </c:pt>
                <c:pt idx="422">
                  <c:v>11.5</c:v>
                </c:pt>
                <c:pt idx="423">
                  <c:v>12.0</c:v>
                </c:pt>
                <c:pt idx="424">
                  <c:v>13.0</c:v>
                </c:pt>
                <c:pt idx="425">
                  <c:v>12.0</c:v>
                </c:pt>
                <c:pt idx="426">
                  <c:v>4.0</c:v>
                </c:pt>
                <c:pt idx="427">
                  <c:v>2.5</c:v>
                </c:pt>
                <c:pt idx="428">
                  <c:v>11.0</c:v>
                </c:pt>
                <c:pt idx="429">
                  <c:v>2.9</c:v>
                </c:pt>
                <c:pt idx="430">
                  <c:v>14.5</c:v>
                </c:pt>
                <c:pt idx="431">
                  <c:v>7.5</c:v>
                </c:pt>
                <c:pt idx="432">
                  <c:v>3.0</c:v>
                </c:pt>
                <c:pt idx="433">
                  <c:v>5.5</c:v>
                </c:pt>
                <c:pt idx="434">
                  <c:v>12.0</c:v>
                </c:pt>
                <c:pt idx="435">
                  <c:v>6.5</c:v>
                </c:pt>
                <c:pt idx="436">
                  <c:v>6.5</c:v>
                </c:pt>
                <c:pt idx="437">
                  <c:v>16.0</c:v>
                </c:pt>
                <c:pt idx="438">
                  <c:v>14.0</c:v>
                </c:pt>
                <c:pt idx="439">
                  <c:v>2.9</c:v>
                </c:pt>
                <c:pt idx="440">
                  <c:v>2.0</c:v>
                </c:pt>
                <c:pt idx="441">
                  <c:v>7.5</c:v>
                </c:pt>
                <c:pt idx="442">
                  <c:v>2.0</c:v>
                </c:pt>
                <c:pt idx="443">
                  <c:v>18.0</c:v>
                </c:pt>
                <c:pt idx="444">
                  <c:v>16.0</c:v>
                </c:pt>
                <c:pt idx="445">
                  <c:v>17.1</c:v>
                </c:pt>
                <c:pt idx="446">
                  <c:v>4.3</c:v>
                </c:pt>
                <c:pt idx="447">
                  <c:v>2.5</c:v>
                </c:pt>
                <c:pt idx="448">
                  <c:v>9.5</c:v>
                </c:pt>
                <c:pt idx="449">
                  <c:v>11.5</c:v>
                </c:pt>
                <c:pt idx="450">
                  <c:v>3.0</c:v>
                </c:pt>
                <c:pt idx="451">
                  <c:v>4.5</c:v>
                </c:pt>
                <c:pt idx="452">
                  <c:v>2.0</c:v>
                </c:pt>
                <c:pt idx="453">
                  <c:v>14.5</c:v>
                </c:pt>
                <c:pt idx="454">
                  <c:v>4.0</c:v>
                </c:pt>
                <c:pt idx="455">
                  <c:v>14.0</c:v>
                </c:pt>
                <c:pt idx="456">
                  <c:v>2.9</c:v>
                </c:pt>
                <c:pt idx="457">
                  <c:v>1.4</c:v>
                </c:pt>
                <c:pt idx="458">
                  <c:v>2.1</c:v>
                </c:pt>
                <c:pt idx="459">
                  <c:v>14.0</c:v>
                </c:pt>
                <c:pt idx="460">
                  <c:v>2.0</c:v>
                </c:pt>
                <c:pt idx="461">
                  <c:v>17.5</c:v>
                </c:pt>
                <c:pt idx="462">
                  <c:v>12.0</c:v>
                </c:pt>
                <c:pt idx="463">
                  <c:v>10.0</c:v>
                </c:pt>
                <c:pt idx="464">
                  <c:v>6.0</c:v>
                </c:pt>
                <c:pt idx="465">
                  <c:v>10.0</c:v>
                </c:pt>
                <c:pt idx="466">
                  <c:v>14.0</c:v>
                </c:pt>
                <c:pt idx="467">
                  <c:v>1.0</c:v>
                </c:pt>
                <c:pt idx="468">
                  <c:v>15.0</c:v>
                </c:pt>
                <c:pt idx="469">
                  <c:v>8.5</c:v>
                </c:pt>
                <c:pt idx="470">
                  <c:v>1.4</c:v>
                </c:pt>
                <c:pt idx="471">
                  <c:v>11.5</c:v>
                </c:pt>
                <c:pt idx="472">
                  <c:v>14.3</c:v>
                </c:pt>
                <c:pt idx="473">
                  <c:v>6.5</c:v>
                </c:pt>
                <c:pt idx="474">
                  <c:v>14.0</c:v>
                </c:pt>
                <c:pt idx="475">
                  <c:v>12.0</c:v>
                </c:pt>
                <c:pt idx="476">
                  <c:v>0.0</c:v>
                </c:pt>
                <c:pt idx="477">
                  <c:v>14.5</c:v>
                </c:pt>
                <c:pt idx="478">
                  <c:v>1.5</c:v>
                </c:pt>
                <c:pt idx="479">
                  <c:v>3.0</c:v>
                </c:pt>
                <c:pt idx="480">
                  <c:v>17.9</c:v>
                </c:pt>
                <c:pt idx="481">
                  <c:v>13.0</c:v>
                </c:pt>
                <c:pt idx="482">
                  <c:v>17.1</c:v>
                </c:pt>
                <c:pt idx="483">
                  <c:v>15.5</c:v>
                </c:pt>
                <c:pt idx="484">
                  <c:v>13.0</c:v>
                </c:pt>
                <c:pt idx="485">
                  <c:v>2.0</c:v>
                </c:pt>
                <c:pt idx="486">
                  <c:v>17.5</c:v>
                </c:pt>
                <c:pt idx="487">
                  <c:v>1.5</c:v>
                </c:pt>
                <c:pt idx="488">
                  <c:v>1.0</c:v>
                </c:pt>
                <c:pt idx="489">
                  <c:v>13.0</c:v>
                </c:pt>
                <c:pt idx="490">
                  <c:v>4.0</c:v>
                </c:pt>
                <c:pt idx="491">
                  <c:v>10.5</c:v>
                </c:pt>
                <c:pt idx="492">
                  <c:v>10.5</c:v>
                </c:pt>
                <c:pt idx="493">
                  <c:v>2.0</c:v>
                </c:pt>
                <c:pt idx="494">
                  <c:v>12.0</c:v>
                </c:pt>
                <c:pt idx="495">
                  <c:v>10.0</c:v>
                </c:pt>
                <c:pt idx="496">
                  <c:v>2.0</c:v>
                </c:pt>
                <c:pt idx="497">
                  <c:v>4.5</c:v>
                </c:pt>
                <c:pt idx="498">
                  <c:v>2.0</c:v>
                </c:pt>
                <c:pt idx="499">
                  <c:v>2.0</c:v>
                </c:pt>
                <c:pt idx="500">
                  <c:v>10.5</c:v>
                </c:pt>
                <c:pt idx="501">
                  <c:v>2.0</c:v>
                </c:pt>
                <c:pt idx="502">
                  <c:v>2.0</c:v>
                </c:pt>
                <c:pt idx="503">
                  <c:v>8.5</c:v>
                </c:pt>
                <c:pt idx="504">
                  <c:v>6.0</c:v>
                </c:pt>
                <c:pt idx="505">
                  <c:v>10.5</c:v>
                </c:pt>
                <c:pt idx="506">
                  <c:v>6.0</c:v>
                </c:pt>
                <c:pt idx="507">
                  <c:v>5.0</c:v>
                </c:pt>
                <c:pt idx="508">
                  <c:v>4.0</c:v>
                </c:pt>
                <c:pt idx="509">
                  <c:v>16.0</c:v>
                </c:pt>
                <c:pt idx="510">
                  <c:v>11.5</c:v>
                </c:pt>
                <c:pt idx="511">
                  <c:v>4.0</c:v>
                </c:pt>
                <c:pt idx="512">
                  <c:v>14.3</c:v>
                </c:pt>
                <c:pt idx="513">
                  <c:v>12.0</c:v>
                </c:pt>
                <c:pt idx="514">
                  <c:v>6.0</c:v>
                </c:pt>
                <c:pt idx="515">
                  <c:v>8.0</c:v>
                </c:pt>
                <c:pt idx="516">
                  <c:v>16.0</c:v>
                </c:pt>
                <c:pt idx="517">
                  <c:v>2.0</c:v>
                </c:pt>
                <c:pt idx="518">
                  <c:v>0.5</c:v>
                </c:pt>
                <c:pt idx="519">
                  <c:v>14.0</c:v>
                </c:pt>
                <c:pt idx="520">
                  <c:v>20.0</c:v>
                </c:pt>
                <c:pt idx="521">
                  <c:v>17.5</c:v>
                </c:pt>
                <c:pt idx="522">
                  <c:v>15.0</c:v>
                </c:pt>
                <c:pt idx="523">
                  <c:v>10.0</c:v>
                </c:pt>
                <c:pt idx="524">
                  <c:v>1.0</c:v>
                </c:pt>
                <c:pt idx="525">
                  <c:v>4.0</c:v>
                </c:pt>
                <c:pt idx="526">
                  <c:v>2.9</c:v>
                </c:pt>
                <c:pt idx="527">
                  <c:v>12.0</c:v>
                </c:pt>
                <c:pt idx="528">
                  <c:v>12.0</c:v>
                </c:pt>
                <c:pt idx="529">
                  <c:v>16.0</c:v>
                </c:pt>
                <c:pt idx="530">
                  <c:v>1.0</c:v>
                </c:pt>
                <c:pt idx="531">
                  <c:v>3.0</c:v>
                </c:pt>
                <c:pt idx="532">
                  <c:v>0.5</c:v>
                </c:pt>
                <c:pt idx="533">
                  <c:v>6.0</c:v>
                </c:pt>
                <c:pt idx="534">
                  <c:v>16.0</c:v>
                </c:pt>
                <c:pt idx="535">
                  <c:v>2.0</c:v>
                </c:pt>
                <c:pt idx="536">
                  <c:v>2.0</c:v>
                </c:pt>
                <c:pt idx="537">
                  <c:v>12.0</c:v>
                </c:pt>
                <c:pt idx="538">
                  <c:v>14.0</c:v>
                </c:pt>
                <c:pt idx="539">
                  <c:v>16.0</c:v>
                </c:pt>
                <c:pt idx="540">
                  <c:v>2.5</c:v>
                </c:pt>
                <c:pt idx="541">
                  <c:v>0.7</c:v>
                </c:pt>
                <c:pt idx="542">
                  <c:v>6.0</c:v>
                </c:pt>
                <c:pt idx="543">
                  <c:v>12.5</c:v>
                </c:pt>
                <c:pt idx="544">
                  <c:v>3.0</c:v>
                </c:pt>
                <c:pt idx="545">
                  <c:v>18.0</c:v>
                </c:pt>
                <c:pt idx="546">
                  <c:v>14.3</c:v>
                </c:pt>
                <c:pt idx="547">
                  <c:v>14.0</c:v>
                </c:pt>
                <c:pt idx="548">
                  <c:v>3.5</c:v>
                </c:pt>
                <c:pt idx="549">
                  <c:v>7.0</c:v>
                </c:pt>
                <c:pt idx="550">
                  <c:v>14.0</c:v>
                </c:pt>
                <c:pt idx="551">
                  <c:v>11.0</c:v>
                </c:pt>
                <c:pt idx="552">
                  <c:v>10.5</c:v>
                </c:pt>
                <c:pt idx="553">
                  <c:v>16.0</c:v>
                </c:pt>
                <c:pt idx="554">
                  <c:v>0.5</c:v>
                </c:pt>
                <c:pt idx="555">
                  <c:v>2.0</c:v>
                </c:pt>
                <c:pt idx="556">
                  <c:v>17.5</c:v>
                </c:pt>
                <c:pt idx="557">
                  <c:v>8.0</c:v>
                </c:pt>
                <c:pt idx="558">
                  <c:v>2.9</c:v>
                </c:pt>
                <c:pt idx="559">
                  <c:v>16.0</c:v>
                </c:pt>
                <c:pt idx="560">
                  <c:v>10.0</c:v>
                </c:pt>
                <c:pt idx="561">
                  <c:v>14.5</c:v>
                </c:pt>
                <c:pt idx="562">
                  <c:v>5.5</c:v>
                </c:pt>
                <c:pt idx="563">
                  <c:v>12.5</c:v>
                </c:pt>
                <c:pt idx="564">
                  <c:v>10.5</c:v>
                </c:pt>
                <c:pt idx="565">
                  <c:v>14.0</c:v>
                </c:pt>
                <c:pt idx="566">
                  <c:v>10.5</c:v>
                </c:pt>
                <c:pt idx="567">
                  <c:v>6.0</c:v>
                </c:pt>
                <c:pt idx="568">
                  <c:v>10.5</c:v>
                </c:pt>
                <c:pt idx="569">
                  <c:v>6.0</c:v>
                </c:pt>
                <c:pt idx="570">
                  <c:v>5.0</c:v>
                </c:pt>
                <c:pt idx="571">
                  <c:v>1.0</c:v>
                </c:pt>
                <c:pt idx="572">
                  <c:v>14.3</c:v>
                </c:pt>
                <c:pt idx="573">
                  <c:v>1.0</c:v>
                </c:pt>
                <c:pt idx="574">
                  <c:v>17.1</c:v>
                </c:pt>
                <c:pt idx="575">
                  <c:v>8.0</c:v>
                </c:pt>
                <c:pt idx="576">
                  <c:v>13.5</c:v>
                </c:pt>
                <c:pt idx="577">
                  <c:v>9.0</c:v>
                </c:pt>
                <c:pt idx="578">
                  <c:v>2.0</c:v>
                </c:pt>
                <c:pt idx="579">
                  <c:v>18.0</c:v>
                </c:pt>
                <c:pt idx="580">
                  <c:v>14.0</c:v>
                </c:pt>
                <c:pt idx="581">
                  <c:v>6.0</c:v>
                </c:pt>
                <c:pt idx="582">
                  <c:v>4.0</c:v>
                </c:pt>
                <c:pt idx="583">
                  <c:v>1.0</c:v>
                </c:pt>
                <c:pt idx="584">
                  <c:v>6.5</c:v>
                </c:pt>
                <c:pt idx="585">
                  <c:v>7.0</c:v>
                </c:pt>
                <c:pt idx="586">
                  <c:v>14.0</c:v>
                </c:pt>
                <c:pt idx="587">
                  <c:v>12.0</c:v>
                </c:pt>
                <c:pt idx="588">
                  <c:v>17.1</c:v>
                </c:pt>
                <c:pt idx="589">
                  <c:v>0.5</c:v>
                </c:pt>
                <c:pt idx="590">
                  <c:v>18.0</c:v>
                </c:pt>
                <c:pt idx="591">
                  <c:v>13.0</c:v>
                </c:pt>
                <c:pt idx="592">
                  <c:v>7.0</c:v>
                </c:pt>
                <c:pt idx="593">
                  <c:v>16.5</c:v>
                </c:pt>
                <c:pt idx="594">
                  <c:v>5.0</c:v>
                </c:pt>
                <c:pt idx="595">
                  <c:v>13.6</c:v>
                </c:pt>
                <c:pt idx="596">
                  <c:v>4.5</c:v>
                </c:pt>
                <c:pt idx="597">
                  <c:v>3.5</c:v>
                </c:pt>
                <c:pt idx="598">
                  <c:v>11.5</c:v>
                </c:pt>
                <c:pt idx="599">
                  <c:v>6.5</c:v>
                </c:pt>
                <c:pt idx="600">
                  <c:v>7.5</c:v>
                </c:pt>
                <c:pt idx="601">
                  <c:v>16.0</c:v>
                </c:pt>
                <c:pt idx="602">
                  <c:v>3.5</c:v>
                </c:pt>
                <c:pt idx="603">
                  <c:v>13.5</c:v>
                </c:pt>
                <c:pt idx="604">
                  <c:v>9.5</c:v>
                </c:pt>
                <c:pt idx="605">
                  <c:v>2.0</c:v>
                </c:pt>
                <c:pt idx="606">
                  <c:v>2.9</c:v>
                </c:pt>
                <c:pt idx="607">
                  <c:v>10.0</c:v>
                </c:pt>
                <c:pt idx="608">
                  <c:v>12.0</c:v>
                </c:pt>
                <c:pt idx="609">
                  <c:v>5.5</c:v>
                </c:pt>
                <c:pt idx="610">
                  <c:v>15.5</c:v>
                </c:pt>
                <c:pt idx="611">
                  <c:v>14.0</c:v>
                </c:pt>
                <c:pt idx="612">
                  <c:v>5.7</c:v>
                </c:pt>
                <c:pt idx="613">
                  <c:v>0.0</c:v>
                </c:pt>
                <c:pt idx="614">
                  <c:v>8.0</c:v>
                </c:pt>
                <c:pt idx="615">
                  <c:v>7.5</c:v>
                </c:pt>
                <c:pt idx="616">
                  <c:v>14.0</c:v>
                </c:pt>
                <c:pt idx="617">
                  <c:v>14.0</c:v>
                </c:pt>
                <c:pt idx="618">
                  <c:v>17.0</c:v>
                </c:pt>
                <c:pt idx="619">
                  <c:v>3.5</c:v>
                </c:pt>
                <c:pt idx="620">
                  <c:v>8.0</c:v>
                </c:pt>
                <c:pt idx="621">
                  <c:v>13.0</c:v>
                </c:pt>
                <c:pt idx="622">
                  <c:v>6.0</c:v>
                </c:pt>
                <c:pt idx="623">
                  <c:v>18.0</c:v>
                </c:pt>
                <c:pt idx="624">
                  <c:v>5.7</c:v>
                </c:pt>
                <c:pt idx="625">
                  <c:v>1.4</c:v>
                </c:pt>
                <c:pt idx="626">
                  <c:v>12.5</c:v>
                </c:pt>
                <c:pt idx="627">
                  <c:v>6.5</c:v>
                </c:pt>
                <c:pt idx="628">
                  <c:v>6.0</c:v>
                </c:pt>
                <c:pt idx="629">
                  <c:v>17.1</c:v>
                </c:pt>
                <c:pt idx="630">
                  <c:v>15.7</c:v>
                </c:pt>
                <c:pt idx="631">
                  <c:v>2.0</c:v>
                </c:pt>
                <c:pt idx="632">
                  <c:v>1.0</c:v>
                </c:pt>
                <c:pt idx="633">
                  <c:v>1.0</c:v>
                </c:pt>
                <c:pt idx="634">
                  <c:v>18.0</c:v>
                </c:pt>
                <c:pt idx="635">
                  <c:v>8.0</c:v>
                </c:pt>
                <c:pt idx="636">
                  <c:v>11.5</c:v>
                </c:pt>
                <c:pt idx="637">
                  <c:v>13.0</c:v>
                </c:pt>
                <c:pt idx="638">
                  <c:v>2.0</c:v>
                </c:pt>
                <c:pt idx="639">
                  <c:v>12.5</c:v>
                </c:pt>
                <c:pt idx="640">
                  <c:v>14.0</c:v>
                </c:pt>
                <c:pt idx="641">
                  <c:v>15.5</c:v>
                </c:pt>
                <c:pt idx="642">
                  <c:v>3.0</c:v>
                </c:pt>
                <c:pt idx="643">
                  <c:v>3.5</c:v>
                </c:pt>
                <c:pt idx="644">
                  <c:v>0.5</c:v>
                </c:pt>
                <c:pt idx="645">
                  <c:v>12.0</c:v>
                </c:pt>
                <c:pt idx="646">
                  <c:v>1.5</c:v>
                </c:pt>
                <c:pt idx="647">
                  <c:v>4.0</c:v>
                </c:pt>
                <c:pt idx="648">
                  <c:v>16.5</c:v>
                </c:pt>
                <c:pt idx="649">
                  <c:v>1.0</c:v>
                </c:pt>
                <c:pt idx="650">
                  <c:v>12.5</c:v>
                </c:pt>
                <c:pt idx="651">
                  <c:v>12.0</c:v>
                </c:pt>
                <c:pt idx="652">
                  <c:v>16.0</c:v>
                </c:pt>
                <c:pt idx="653">
                  <c:v>12.0</c:v>
                </c:pt>
                <c:pt idx="654">
                  <c:v>12.0</c:v>
                </c:pt>
                <c:pt idx="655">
                  <c:v>14.0</c:v>
                </c:pt>
                <c:pt idx="656">
                  <c:v>2.0</c:v>
                </c:pt>
                <c:pt idx="657">
                  <c:v>4.0</c:v>
                </c:pt>
                <c:pt idx="658">
                  <c:v>14.5</c:v>
                </c:pt>
                <c:pt idx="659">
                  <c:v>8.0</c:v>
                </c:pt>
                <c:pt idx="660">
                  <c:v>6.5</c:v>
                </c:pt>
                <c:pt idx="661">
                  <c:v>2.0</c:v>
                </c:pt>
                <c:pt idx="662">
                  <c:v>12.0</c:v>
                </c:pt>
                <c:pt idx="663">
                  <c:v>6.0</c:v>
                </c:pt>
                <c:pt idx="664">
                  <c:v>11.0</c:v>
                </c:pt>
                <c:pt idx="665">
                  <c:v>17.0</c:v>
                </c:pt>
                <c:pt idx="666">
                  <c:v>2.0</c:v>
                </c:pt>
                <c:pt idx="667">
                  <c:v>17.5</c:v>
                </c:pt>
                <c:pt idx="668">
                  <c:v>6.5</c:v>
                </c:pt>
                <c:pt idx="669">
                  <c:v>4.0</c:v>
                </c:pt>
                <c:pt idx="670">
                  <c:v>12.0</c:v>
                </c:pt>
                <c:pt idx="671">
                  <c:v>17.5</c:v>
                </c:pt>
                <c:pt idx="672">
                  <c:v>17.1</c:v>
                </c:pt>
                <c:pt idx="673">
                  <c:v>17.5</c:v>
                </c:pt>
                <c:pt idx="674">
                  <c:v>3.0</c:v>
                </c:pt>
                <c:pt idx="675">
                  <c:v>5.5</c:v>
                </c:pt>
                <c:pt idx="676">
                  <c:v>17.1</c:v>
                </c:pt>
                <c:pt idx="677">
                  <c:v>17.1</c:v>
                </c:pt>
                <c:pt idx="678">
                  <c:v>4.0</c:v>
                </c:pt>
                <c:pt idx="679">
                  <c:v>7.0</c:v>
                </c:pt>
                <c:pt idx="680">
                  <c:v>12.5</c:v>
                </c:pt>
                <c:pt idx="681">
                  <c:v>5.0</c:v>
                </c:pt>
                <c:pt idx="682">
                  <c:v>1.5</c:v>
                </c:pt>
                <c:pt idx="683">
                  <c:v>15.0</c:v>
                </c:pt>
                <c:pt idx="684">
                  <c:v>12.0</c:v>
                </c:pt>
                <c:pt idx="685">
                  <c:v>10.0</c:v>
                </c:pt>
                <c:pt idx="686">
                  <c:v>1.0</c:v>
                </c:pt>
                <c:pt idx="687">
                  <c:v>11.0</c:v>
                </c:pt>
                <c:pt idx="688">
                  <c:v>1.0</c:v>
                </c:pt>
                <c:pt idx="689">
                  <c:v>12.5</c:v>
                </c:pt>
                <c:pt idx="690">
                  <c:v>2.1</c:v>
                </c:pt>
                <c:pt idx="691">
                  <c:v>17.1</c:v>
                </c:pt>
                <c:pt idx="692">
                  <c:v>1.0</c:v>
                </c:pt>
                <c:pt idx="693">
                  <c:v>9.5</c:v>
                </c:pt>
                <c:pt idx="694">
                  <c:v>1.4</c:v>
                </c:pt>
                <c:pt idx="695">
                  <c:v>0.0</c:v>
                </c:pt>
                <c:pt idx="696">
                  <c:v>2.0</c:v>
                </c:pt>
                <c:pt idx="697">
                  <c:v>2.0</c:v>
                </c:pt>
                <c:pt idx="698">
                  <c:v>2.0</c:v>
                </c:pt>
                <c:pt idx="699">
                  <c:v>5.7</c:v>
                </c:pt>
                <c:pt idx="700">
                  <c:v>11.0</c:v>
                </c:pt>
                <c:pt idx="701">
                  <c:v>18.0</c:v>
                </c:pt>
                <c:pt idx="702">
                  <c:v>1.5</c:v>
                </c:pt>
                <c:pt idx="703">
                  <c:v>13.5</c:v>
                </c:pt>
                <c:pt idx="704">
                  <c:v>1.5</c:v>
                </c:pt>
                <c:pt idx="705">
                  <c:v>2.0</c:v>
                </c:pt>
                <c:pt idx="706">
                  <c:v>2.0</c:v>
                </c:pt>
                <c:pt idx="707">
                  <c:v>10.5</c:v>
                </c:pt>
                <c:pt idx="708">
                  <c:v>12.0</c:v>
                </c:pt>
                <c:pt idx="709">
                  <c:v>2.9</c:v>
                </c:pt>
                <c:pt idx="710">
                  <c:v>6.0</c:v>
                </c:pt>
                <c:pt idx="711">
                  <c:v>1.5</c:v>
                </c:pt>
                <c:pt idx="712">
                  <c:v>15.5</c:v>
                </c:pt>
                <c:pt idx="713">
                  <c:v>1.5</c:v>
                </c:pt>
                <c:pt idx="714">
                  <c:v>4.0</c:v>
                </c:pt>
                <c:pt idx="715">
                  <c:v>5.0</c:v>
                </c:pt>
                <c:pt idx="716">
                  <c:v>16.5</c:v>
                </c:pt>
                <c:pt idx="717">
                  <c:v>10.0</c:v>
                </c:pt>
                <c:pt idx="718">
                  <c:v>0.5</c:v>
                </c:pt>
                <c:pt idx="719">
                  <c:v>17.1</c:v>
                </c:pt>
                <c:pt idx="720">
                  <c:v>18.0</c:v>
                </c:pt>
                <c:pt idx="721">
                  <c:v>11.5</c:v>
                </c:pt>
                <c:pt idx="722">
                  <c:v>12.0</c:v>
                </c:pt>
                <c:pt idx="723">
                  <c:v>17.1</c:v>
                </c:pt>
                <c:pt idx="724">
                  <c:v>8.5</c:v>
                </c:pt>
                <c:pt idx="725">
                  <c:v>17.1</c:v>
                </c:pt>
                <c:pt idx="726">
                  <c:v>1.0</c:v>
                </c:pt>
                <c:pt idx="727">
                  <c:v>6.5</c:v>
                </c:pt>
                <c:pt idx="728">
                  <c:v>17.1</c:v>
                </c:pt>
                <c:pt idx="729">
                  <c:v>4.0</c:v>
                </c:pt>
              </c:numCache>
            </c:numRef>
          </c:xVal>
          <c:yVal>
            <c:numRef>
              <c:f>Sheet1!$B$2:$B$731</c:f>
              <c:numCache>
                <c:formatCode>General</c:formatCode>
                <c:ptCount val="730"/>
                <c:pt idx="0">
                  <c:v>0.0</c:v>
                </c:pt>
                <c:pt idx="1">
                  <c:v>6.4</c:v>
                </c:pt>
                <c:pt idx="2">
                  <c:v>0.0</c:v>
                </c:pt>
                <c:pt idx="3">
                  <c:v>0.0</c:v>
                </c:pt>
                <c:pt idx="4">
                  <c:v>0.0</c:v>
                </c:pt>
                <c:pt idx="5">
                  <c:v>0.0</c:v>
                </c:pt>
                <c:pt idx="6">
                  <c:v>5.4</c:v>
                </c:pt>
                <c:pt idx="7">
                  <c:v>0.0</c:v>
                </c:pt>
                <c:pt idx="8">
                  <c:v>0.0</c:v>
                </c:pt>
                <c:pt idx="9">
                  <c:v>4.0</c:v>
                </c:pt>
                <c:pt idx="10">
                  <c:v>0.0</c:v>
                </c:pt>
                <c:pt idx="11">
                  <c:v>0.0</c:v>
                </c:pt>
                <c:pt idx="12">
                  <c:v>0.0</c:v>
                </c:pt>
                <c:pt idx="13">
                  <c:v>0.0</c:v>
                </c:pt>
                <c:pt idx="14">
                  <c:v>4.1</c:v>
                </c:pt>
                <c:pt idx="15">
                  <c:v>0.0</c:v>
                </c:pt>
                <c:pt idx="16">
                  <c:v>0.0</c:v>
                </c:pt>
                <c:pt idx="17">
                  <c:v>0.0</c:v>
                </c:pt>
                <c:pt idx="18">
                  <c:v>0.0</c:v>
                </c:pt>
                <c:pt idx="19">
                  <c:v>0.0</c:v>
                </c:pt>
                <c:pt idx="20">
                  <c:v>0.0</c:v>
                </c:pt>
                <c:pt idx="21">
                  <c:v>0.0</c:v>
                </c:pt>
                <c:pt idx="22">
                  <c:v>0.0</c:v>
                </c:pt>
                <c:pt idx="23">
                  <c:v>0.0</c:v>
                </c:pt>
                <c:pt idx="24">
                  <c:v>0.0</c:v>
                </c:pt>
                <c:pt idx="25">
                  <c:v>1.2</c:v>
                </c:pt>
                <c:pt idx="26">
                  <c:v>0.0</c:v>
                </c:pt>
                <c:pt idx="27">
                  <c:v>0.0</c:v>
                </c:pt>
                <c:pt idx="28">
                  <c:v>0.0</c:v>
                </c:pt>
                <c:pt idx="29">
                  <c:v>0.0</c:v>
                </c:pt>
                <c:pt idx="30">
                  <c:v>0.0</c:v>
                </c:pt>
                <c:pt idx="31">
                  <c:v>0.0</c:v>
                </c:pt>
                <c:pt idx="32">
                  <c:v>0.0</c:v>
                </c:pt>
                <c:pt idx="33">
                  <c:v>0.0</c:v>
                </c:pt>
                <c:pt idx="34">
                  <c:v>4.1</c:v>
                </c:pt>
                <c:pt idx="35">
                  <c:v>0.0</c:v>
                </c:pt>
                <c:pt idx="36">
                  <c:v>0.0</c:v>
                </c:pt>
                <c:pt idx="37">
                  <c:v>0.2</c:v>
                </c:pt>
                <c:pt idx="38">
                  <c:v>0.0</c:v>
                </c:pt>
                <c:pt idx="39">
                  <c:v>0.0</c:v>
                </c:pt>
                <c:pt idx="40">
                  <c:v>0.0</c:v>
                </c:pt>
                <c:pt idx="41">
                  <c:v>3.4</c:v>
                </c:pt>
                <c:pt idx="42">
                  <c:v>0.0</c:v>
                </c:pt>
                <c:pt idx="43">
                  <c:v>0.0</c:v>
                </c:pt>
                <c:pt idx="44">
                  <c:v>0.0</c:v>
                </c:pt>
                <c:pt idx="45">
                  <c:v>0.0</c:v>
                </c:pt>
                <c:pt idx="46">
                  <c:v>0.0</c:v>
                </c:pt>
                <c:pt idx="47">
                  <c:v>1.4</c:v>
                </c:pt>
                <c:pt idx="48">
                  <c:v>0.0</c:v>
                </c:pt>
                <c:pt idx="49">
                  <c:v>3.2</c:v>
                </c:pt>
                <c:pt idx="50">
                  <c:v>0.0</c:v>
                </c:pt>
                <c:pt idx="51">
                  <c:v>3.8</c:v>
                </c:pt>
                <c:pt idx="52">
                  <c:v>0.0</c:v>
                </c:pt>
                <c:pt idx="53">
                  <c:v>0.0</c:v>
                </c:pt>
                <c:pt idx="54">
                  <c:v>0.0</c:v>
                </c:pt>
                <c:pt idx="55">
                  <c:v>3.4</c:v>
                </c:pt>
                <c:pt idx="56">
                  <c:v>0.0</c:v>
                </c:pt>
                <c:pt idx="57">
                  <c:v>1.4</c:v>
                </c:pt>
                <c:pt idx="58">
                  <c:v>0.0</c:v>
                </c:pt>
                <c:pt idx="59">
                  <c:v>0.0</c:v>
                </c:pt>
                <c:pt idx="60">
                  <c:v>4.0</c:v>
                </c:pt>
                <c:pt idx="61">
                  <c:v>0.0</c:v>
                </c:pt>
                <c:pt idx="62">
                  <c:v>1.4</c:v>
                </c:pt>
                <c:pt idx="63">
                  <c:v>0.0</c:v>
                </c:pt>
                <c:pt idx="64">
                  <c:v>0.0</c:v>
                </c:pt>
                <c:pt idx="65">
                  <c:v>0.0</c:v>
                </c:pt>
                <c:pt idx="66">
                  <c:v>0.0</c:v>
                </c:pt>
                <c:pt idx="67">
                  <c:v>0.0</c:v>
                </c:pt>
                <c:pt idx="68">
                  <c:v>0.0</c:v>
                </c:pt>
                <c:pt idx="69">
                  <c:v>1.6</c:v>
                </c:pt>
                <c:pt idx="70">
                  <c:v>0.0</c:v>
                </c:pt>
                <c:pt idx="71">
                  <c:v>0.0</c:v>
                </c:pt>
                <c:pt idx="72">
                  <c:v>4.0</c:v>
                </c:pt>
                <c:pt idx="73">
                  <c:v>0.0</c:v>
                </c:pt>
                <c:pt idx="74">
                  <c:v>0.0</c:v>
                </c:pt>
                <c:pt idx="75">
                  <c:v>0.0</c:v>
                </c:pt>
                <c:pt idx="76">
                  <c:v>2.2</c:v>
                </c:pt>
                <c:pt idx="77">
                  <c:v>0.0</c:v>
                </c:pt>
                <c:pt idx="78">
                  <c:v>0.0</c:v>
                </c:pt>
                <c:pt idx="79">
                  <c:v>0.0</c:v>
                </c:pt>
                <c:pt idx="80">
                  <c:v>0.0</c:v>
                </c:pt>
                <c:pt idx="81">
                  <c:v>4.1</c:v>
                </c:pt>
                <c:pt idx="82">
                  <c:v>0.0</c:v>
                </c:pt>
                <c:pt idx="83">
                  <c:v>0.0</c:v>
                </c:pt>
                <c:pt idx="84">
                  <c:v>0.0</c:v>
                </c:pt>
                <c:pt idx="85">
                  <c:v>6.3</c:v>
                </c:pt>
                <c:pt idx="86">
                  <c:v>0.0</c:v>
                </c:pt>
                <c:pt idx="87">
                  <c:v>3.4</c:v>
                </c:pt>
                <c:pt idx="88">
                  <c:v>5.1</c:v>
                </c:pt>
                <c:pt idx="89">
                  <c:v>0.0</c:v>
                </c:pt>
                <c:pt idx="90">
                  <c:v>0.0</c:v>
                </c:pt>
                <c:pt idx="91">
                  <c:v>0.0</c:v>
                </c:pt>
                <c:pt idx="92">
                  <c:v>0.0</c:v>
                </c:pt>
                <c:pt idx="93">
                  <c:v>0.0</c:v>
                </c:pt>
                <c:pt idx="94">
                  <c:v>0.0</c:v>
                </c:pt>
                <c:pt idx="95">
                  <c:v>0.0</c:v>
                </c:pt>
                <c:pt idx="96">
                  <c:v>0.0</c:v>
                </c:pt>
                <c:pt idx="97">
                  <c:v>4.1</c:v>
                </c:pt>
                <c:pt idx="98">
                  <c:v>1.4</c:v>
                </c:pt>
                <c:pt idx="99">
                  <c:v>0.0</c:v>
                </c:pt>
                <c:pt idx="100">
                  <c:v>0.0</c:v>
                </c:pt>
                <c:pt idx="101">
                  <c:v>0.0</c:v>
                </c:pt>
                <c:pt idx="102">
                  <c:v>3.2</c:v>
                </c:pt>
                <c:pt idx="103">
                  <c:v>1.2</c:v>
                </c:pt>
                <c:pt idx="104">
                  <c:v>0.0</c:v>
                </c:pt>
                <c:pt idx="105">
                  <c:v>0.0</c:v>
                </c:pt>
                <c:pt idx="106">
                  <c:v>0.0</c:v>
                </c:pt>
                <c:pt idx="107">
                  <c:v>0.0</c:v>
                </c:pt>
                <c:pt idx="108">
                  <c:v>0.0</c:v>
                </c:pt>
                <c:pt idx="109">
                  <c:v>0.0</c:v>
                </c:pt>
                <c:pt idx="110">
                  <c:v>0.0</c:v>
                </c:pt>
                <c:pt idx="111">
                  <c:v>0.0</c:v>
                </c:pt>
                <c:pt idx="112">
                  <c:v>0.0</c:v>
                </c:pt>
                <c:pt idx="113">
                  <c:v>0.0</c:v>
                </c:pt>
                <c:pt idx="114">
                  <c:v>0.0</c:v>
                </c:pt>
                <c:pt idx="115">
                  <c:v>0.0</c:v>
                </c:pt>
                <c:pt idx="116">
                  <c:v>0.0</c:v>
                </c:pt>
                <c:pt idx="117">
                  <c:v>1.2</c:v>
                </c:pt>
                <c:pt idx="118">
                  <c:v>0.0</c:v>
                </c:pt>
                <c:pt idx="119">
                  <c:v>0.0</c:v>
                </c:pt>
                <c:pt idx="120">
                  <c:v>0.0</c:v>
                </c:pt>
                <c:pt idx="121">
                  <c:v>4.1</c:v>
                </c:pt>
                <c:pt idx="122">
                  <c:v>0.0</c:v>
                </c:pt>
                <c:pt idx="123">
                  <c:v>0.0</c:v>
                </c:pt>
                <c:pt idx="124">
                  <c:v>0.0</c:v>
                </c:pt>
                <c:pt idx="125">
                  <c:v>0.0</c:v>
                </c:pt>
                <c:pt idx="126">
                  <c:v>0.0</c:v>
                </c:pt>
                <c:pt idx="127">
                  <c:v>0.0</c:v>
                </c:pt>
                <c:pt idx="128">
                  <c:v>0.0</c:v>
                </c:pt>
                <c:pt idx="129">
                  <c:v>0.0</c:v>
                </c:pt>
                <c:pt idx="130">
                  <c:v>0.0</c:v>
                </c:pt>
                <c:pt idx="131">
                  <c:v>0.0</c:v>
                </c:pt>
                <c:pt idx="132">
                  <c:v>0.0</c:v>
                </c:pt>
                <c:pt idx="133">
                  <c:v>0.0</c:v>
                </c:pt>
                <c:pt idx="134">
                  <c:v>0.0</c:v>
                </c:pt>
                <c:pt idx="135">
                  <c:v>0.0</c:v>
                </c:pt>
                <c:pt idx="136">
                  <c:v>0.0</c:v>
                </c:pt>
                <c:pt idx="137">
                  <c:v>0.0</c:v>
                </c:pt>
                <c:pt idx="138">
                  <c:v>0.0</c:v>
                </c:pt>
                <c:pt idx="139">
                  <c:v>0.0</c:v>
                </c:pt>
                <c:pt idx="140">
                  <c:v>3.4</c:v>
                </c:pt>
                <c:pt idx="141">
                  <c:v>0.0</c:v>
                </c:pt>
                <c:pt idx="142">
                  <c:v>0.0</c:v>
                </c:pt>
                <c:pt idx="143">
                  <c:v>1.4</c:v>
                </c:pt>
                <c:pt idx="144">
                  <c:v>4.2</c:v>
                </c:pt>
                <c:pt idx="145">
                  <c:v>0.0</c:v>
                </c:pt>
                <c:pt idx="146">
                  <c:v>0.4</c:v>
                </c:pt>
                <c:pt idx="147">
                  <c:v>0.0</c:v>
                </c:pt>
                <c:pt idx="148">
                  <c:v>0.0</c:v>
                </c:pt>
                <c:pt idx="149">
                  <c:v>6.1</c:v>
                </c:pt>
                <c:pt idx="150">
                  <c:v>0.0</c:v>
                </c:pt>
                <c:pt idx="151">
                  <c:v>0.0</c:v>
                </c:pt>
                <c:pt idx="152">
                  <c:v>0.0</c:v>
                </c:pt>
                <c:pt idx="153">
                  <c:v>1.2</c:v>
                </c:pt>
                <c:pt idx="154">
                  <c:v>0.0</c:v>
                </c:pt>
                <c:pt idx="155">
                  <c:v>0.0</c:v>
                </c:pt>
                <c:pt idx="156">
                  <c:v>0.0</c:v>
                </c:pt>
                <c:pt idx="157">
                  <c:v>0.0</c:v>
                </c:pt>
                <c:pt idx="158">
                  <c:v>0.0</c:v>
                </c:pt>
                <c:pt idx="159">
                  <c:v>0.0</c:v>
                </c:pt>
                <c:pt idx="160">
                  <c:v>5.4</c:v>
                </c:pt>
                <c:pt idx="161">
                  <c:v>0.0</c:v>
                </c:pt>
                <c:pt idx="162">
                  <c:v>0.0</c:v>
                </c:pt>
                <c:pt idx="163">
                  <c:v>0.0</c:v>
                </c:pt>
                <c:pt idx="164">
                  <c:v>0.0</c:v>
                </c:pt>
                <c:pt idx="165">
                  <c:v>0.0</c:v>
                </c:pt>
                <c:pt idx="166">
                  <c:v>0.0</c:v>
                </c:pt>
                <c:pt idx="167">
                  <c:v>0.0</c:v>
                </c:pt>
                <c:pt idx="168">
                  <c:v>0.0</c:v>
                </c:pt>
                <c:pt idx="169">
                  <c:v>0.0</c:v>
                </c:pt>
                <c:pt idx="170">
                  <c:v>0.0</c:v>
                </c:pt>
                <c:pt idx="171">
                  <c:v>3.6</c:v>
                </c:pt>
                <c:pt idx="172">
                  <c:v>0.0</c:v>
                </c:pt>
                <c:pt idx="173">
                  <c:v>0.0</c:v>
                </c:pt>
                <c:pt idx="174">
                  <c:v>0.0</c:v>
                </c:pt>
                <c:pt idx="175">
                  <c:v>0.0</c:v>
                </c:pt>
                <c:pt idx="176">
                  <c:v>0.0</c:v>
                </c:pt>
                <c:pt idx="177">
                  <c:v>0.0</c:v>
                </c:pt>
                <c:pt idx="178">
                  <c:v>0.0</c:v>
                </c:pt>
                <c:pt idx="179">
                  <c:v>1.6</c:v>
                </c:pt>
                <c:pt idx="180">
                  <c:v>0.0</c:v>
                </c:pt>
                <c:pt idx="181">
                  <c:v>0.0</c:v>
                </c:pt>
                <c:pt idx="182">
                  <c:v>4.1</c:v>
                </c:pt>
                <c:pt idx="183">
                  <c:v>0.0</c:v>
                </c:pt>
                <c:pt idx="184">
                  <c:v>0.0</c:v>
                </c:pt>
                <c:pt idx="185">
                  <c:v>0.0</c:v>
                </c:pt>
                <c:pt idx="186">
                  <c:v>0.0</c:v>
                </c:pt>
                <c:pt idx="187">
                  <c:v>0.0</c:v>
                </c:pt>
                <c:pt idx="188">
                  <c:v>0.0</c:v>
                </c:pt>
                <c:pt idx="189">
                  <c:v>0.0</c:v>
                </c:pt>
                <c:pt idx="190">
                  <c:v>0.0</c:v>
                </c:pt>
                <c:pt idx="191">
                  <c:v>0.0</c:v>
                </c:pt>
                <c:pt idx="192">
                  <c:v>0.0</c:v>
                </c:pt>
                <c:pt idx="193">
                  <c:v>0.0</c:v>
                </c:pt>
                <c:pt idx="194">
                  <c:v>0.0</c:v>
                </c:pt>
                <c:pt idx="195">
                  <c:v>0.0</c:v>
                </c:pt>
                <c:pt idx="196">
                  <c:v>0.0</c:v>
                </c:pt>
                <c:pt idx="197">
                  <c:v>0.0</c:v>
                </c:pt>
                <c:pt idx="198">
                  <c:v>3.8</c:v>
                </c:pt>
                <c:pt idx="199">
                  <c:v>0.0</c:v>
                </c:pt>
                <c:pt idx="200">
                  <c:v>2.4</c:v>
                </c:pt>
                <c:pt idx="201">
                  <c:v>0.0</c:v>
                </c:pt>
                <c:pt idx="202">
                  <c:v>0.0</c:v>
                </c:pt>
                <c:pt idx="203">
                  <c:v>0.2</c:v>
                </c:pt>
                <c:pt idx="204">
                  <c:v>0.0</c:v>
                </c:pt>
                <c:pt idx="205">
                  <c:v>0.0</c:v>
                </c:pt>
                <c:pt idx="206">
                  <c:v>0.0</c:v>
                </c:pt>
                <c:pt idx="207">
                  <c:v>0.0</c:v>
                </c:pt>
                <c:pt idx="208">
                  <c:v>0.0</c:v>
                </c:pt>
                <c:pt idx="209">
                  <c:v>0.0</c:v>
                </c:pt>
                <c:pt idx="210">
                  <c:v>0.0</c:v>
                </c:pt>
                <c:pt idx="211">
                  <c:v>0.0</c:v>
                </c:pt>
                <c:pt idx="212">
                  <c:v>2.2</c:v>
                </c:pt>
                <c:pt idx="213">
                  <c:v>0.0</c:v>
                </c:pt>
                <c:pt idx="214">
                  <c:v>0.0</c:v>
                </c:pt>
                <c:pt idx="215">
                  <c:v>0.0</c:v>
                </c:pt>
                <c:pt idx="216">
                  <c:v>0.0</c:v>
                </c:pt>
                <c:pt idx="217">
                  <c:v>0.0</c:v>
                </c:pt>
                <c:pt idx="218">
                  <c:v>0.0</c:v>
                </c:pt>
                <c:pt idx="219">
                  <c:v>0.0</c:v>
                </c:pt>
                <c:pt idx="220">
                  <c:v>0.0</c:v>
                </c:pt>
                <c:pt idx="221">
                  <c:v>0.0</c:v>
                </c:pt>
                <c:pt idx="222">
                  <c:v>6.6</c:v>
                </c:pt>
                <c:pt idx="223">
                  <c:v>0.0</c:v>
                </c:pt>
                <c:pt idx="224">
                  <c:v>0.0</c:v>
                </c:pt>
                <c:pt idx="225">
                  <c:v>0.0</c:v>
                </c:pt>
                <c:pt idx="226">
                  <c:v>0.0</c:v>
                </c:pt>
                <c:pt idx="227">
                  <c:v>0.0</c:v>
                </c:pt>
                <c:pt idx="228">
                  <c:v>0.0</c:v>
                </c:pt>
                <c:pt idx="229">
                  <c:v>0.0</c:v>
                </c:pt>
                <c:pt idx="230">
                  <c:v>0.0</c:v>
                </c:pt>
                <c:pt idx="231">
                  <c:v>0.0</c:v>
                </c:pt>
                <c:pt idx="232">
                  <c:v>0.0</c:v>
                </c:pt>
                <c:pt idx="233">
                  <c:v>0.0</c:v>
                </c:pt>
                <c:pt idx="234">
                  <c:v>0.0</c:v>
                </c:pt>
                <c:pt idx="235">
                  <c:v>0.0</c:v>
                </c:pt>
                <c:pt idx="236">
                  <c:v>0.0</c:v>
                </c:pt>
                <c:pt idx="237">
                  <c:v>0.0</c:v>
                </c:pt>
                <c:pt idx="238">
                  <c:v>0.0</c:v>
                </c:pt>
                <c:pt idx="239">
                  <c:v>0.0</c:v>
                </c:pt>
                <c:pt idx="240">
                  <c:v>0.0</c:v>
                </c:pt>
                <c:pt idx="241">
                  <c:v>1.2</c:v>
                </c:pt>
                <c:pt idx="242">
                  <c:v>0.0</c:v>
                </c:pt>
                <c:pt idx="243">
                  <c:v>0.0</c:v>
                </c:pt>
                <c:pt idx="244">
                  <c:v>4.3</c:v>
                </c:pt>
                <c:pt idx="245">
                  <c:v>0.0</c:v>
                </c:pt>
                <c:pt idx="246">
                  <c:v>0.0</c:v>
                </c:pt>
                <c:pt idx="247">
                  <c:v>0.0</c:v>
                </c:pt>
                <c:pt idx="248">
                  <c:v>3.4</c:v>
                </c:pt>
                <c:pt idx="249">
                  <c:v>0.0</c:v>
                </c:pt>
                <c:pt idx="250">
                  <c:v>7.55</c:v>
                </c:pt>
                <c:pt idx="251">
                  <c:v>2.2</c:v>
                </c:pt>
                <c:pt idx="252">
                  <c:v>5.6</c:v>
                </c:pt>
                <c:pt idx="253">
                  <c:v>0.0</c:v>
                </c:pt>
                <c:pt idx="254">
                  <c:v>0.0</c:v>
                </c:pt>
                <c:pt idx="255">
                  <c:v>0.0</c:v>
                </c:pt>
                <c:pt idx="256">
                  <c:v>0.0</c:v>
                </c:pt>
                <c:pt idx="257">
                  <c:v>0.0</c:v>
                </c:pt>
                <c:pt idx="258">
                  <c:v>3.4</c:v>
                </c:pt>
                <c:pt idx="259">
                  <c:v>0.0</c:v>
                </c:pt>
                <c:pt idx="260">
                  <c:v>0.0</c:v>
                </c:pt>
                <c:pt idx="261">
                  <c:v>0.0</c:v>
                </c:pt>
                <c:pt idx="262">
                  <c:v>0.0</c:v>
                </c:pt>
                <c:pt idx="263">
                  <c:v>0.0</c:v>
                </c:pt>
                <c:pt idx="264">
                  <c:v>0.0</c:v>
                </c:pt>
                <c:pt idx="265">
                  <c:v>0.0</c:v>
                </c:pt>
                <c:pt idx="266">
                  <c:v>4.2</c:v>
                </c:pt>
                <c:pt idx="267">
                  <c:v>0.0</c:v>
                </c:pt>
                <c:pt idx="268">
                  <c:v>0.0</c:v>
                </c:pt>
                <c:pt idx="269">
                  <c:v>0.0</c:v>
                </c:pt>
                <c:pt idx="270">
                  <c:v>0.0</c:v>
                </c:pt>
                <c:pt idx="271">
                  <c:v>0.0</c:v>
                </c:pt>
                <c:pt idx="272">
                  <c:v>0.0</c:v>
                </c:pt>
                <c:pt idx="273">
                  <c:v>0.0</c:v>
                </c:pt>
                <c:pt idx="274">
                  <c:v>0.0</c:v>
                </c:pt>
                <c:pt idx="275">
                  <c:v>0.0</c:v>
                </c:pt>
                <c:pt idx="276">
                  <c:v>0.0</c:v>
                </c:pt>
                <c:pt idx="277">
                  <c:v>0.0</c:v>
                </c:pt>
                <c:pt idx="278">
                  <c:v>0.0</c:v>
                </c:pt>
                <c:pt idx="279">
                  <c:v>3.2</c:v>
                </c:pt>
                <c:pt idx="280">
                  <c:v>0.0</c:v>
                </c:pt>
                <c:pt idx="281">
                  <c:v>0.0</c:v>
                </c:pt>
                <c:pt idx="282">
                  <c:v>0.0</c:v>
                </c:pt>
                <c:pt idx="283">
                  <c:v>0.0</c:v>
                </c:pt>
                <c:pt idx="284">
                  <c:v>0.0</c:v>
                </c:pt>
                <c:pt idx="285">
                  <c:v>0.0</c:v>
                </c:pt>
                <c:pt idx="286">
                  <c:v>0.0</c:v>
                </c:pt>
                <c:pt idx="287">
                  <c:v>0.0</c:v>
                </c:pt>
                <c:pt idx="288">
                  <c:v>0.0</c:v>
                </c:pt>
                <c:pt idx="289">
                  <c:v>0.0</c:v>
                </c:pt>
                <c:pt idx="290">
                  <c:v>0.0</c:v>
                </c:pt>
                <c:pt idx="291">
                  <c:v>0.0</c:v>
                </c:pt>
                <c:pt idx="292">
                  <c:v>3.4</c:v>
                </c:pt>
                <c:pt idx="293">
                  <c:v>0.0</c:v>
                </c:pt>
                <c:pt idx="294">
                  <c:v>0.0</c:v>
                </c:pt>
                <c:pt idx="295">
                  <c:v>0.0</c:v>
                </c:pt>
                <c:pt idx="296">
                  <c:v>0.0</c:v>
                </c:pt>
                <c:pt idx="297">
                  <c:v>0.0</c:v>
                </c:pt>
                <c:pt idx="298">
                  <c:v>0.0</c:v>
                </c:pt>
                <c:pt idx="299">
                  <c:v>3.8</c:v>
                </c:pt>
                <c:pt idx="300">
                  <c:v>0.0</c:v>
                </c:pt>
                <c:pt idx="301">
                  <c:v>0.0</c:v>
                </c:pt>
                <c:pt idx="302">
                  <c:v>5.1</c:v>
                </c:pt>
                <c:pt idx="303">
                  <c:v>0.0</c:v>
                </c:pt>
                <c:pt idx="304">
                  <c:v>3.2</c:v>
                </c:pt>
                <c:pt idx="305">
                  <c:v>4.1</c:v>
                </c:pt>
                <c:pt idx="306">
                  <c:v>0.0</c:v>
                </c:pt>
                <c:pt idx="307">
                  <c:v>1.2</c:v>
                </c:pt>
                <c:pt idx="308">
                  <c:v>0.0</c:v>
                </c:pt>
                <c:pt idx="309">
                  <c:v>0.0</c:v>
                </c:pt>
                <c:pt idx="310">
                  <c:v>0.0</c:v>
                </c:pt>
                <c:pt idx="311">
                  <c:v>0.0</c:v>
                </c:pt>
                <c:pt idx="312">
                  <c:v>0.0</c:v>
                </c:pt>
                <c:pt idx="313">
                  <c:v>0.0</c:v>
                </c:pt>
                <c:pt idx="314">
                  <c:v>0.0</c:v>
                </c:pt>
                <c:pt idx="315">
                  <c:v>0.0</c:v>
                </c:pt>
                <c:pt idx="316">
                  <c:v>0.0</c:v>
                </c:pt>
                <c:pt idx="317">
                  <c:v>0.0</c:v>
                </c:pt>
                <c:pt idx="318">
                  <c:v>0.0</c:v>
                </c:pt>
                <c:pt idx="319">
                  <c:v>0.0</c:v>
                </c:pt>
                <c:pt idx="320">
                  <c:v>0.0</c:v>
                </c:pt>
                <c:pt idx="321">
                  <c:v>4.1</c:v>
                </c:pt>
                <c:pt idx="322">
                  <c:v>0.0</c:v>
                </c:pt>
                <c:pt idx="323">
                  <c:v>0.0</c:v>
                </c:pt>
                <c:pt idx="324">
                  <c:v>5.0</c:v>
                </c:pt>
                <c:pt idx="325">
                  <c:v>0.0</c:v>
                </c:pt>
                <c:pt idx="326">
                  <c:v>0.0</c:v>
                </c:pt>
                <c:pt idx="327">
                  <c:v>0.0</c:v>
                </c:pt>
                <c:pt idx="328">
                  <c:v>0.0</c:v>
                </c:pt>
                <c:pt idx="329">
                  <c:v>0.0</c:v>
                </c:pt>
                <c:pt idx="330">
                  <c:v>0.0</c:v>
                </c:pt>
                <c:pt idx="331">
                  <c:v>0.0</c:v>
                </c:pt>
                <c:pt idx="332">
                  <c:v>0.0</c:v>
                </c:pt>
                <c:pt idx="333">
                  <c:v>3.2</c:v>
                </c:pt>
                <c:pt idx="334">
                  <c:v>0.0</c:v>
                </c:pt>
                <c:pt idx="335">
                  <c:v>0.0</c:v>
                </c:pt>
                <c:pt idx="336">
                  <c:v>0.0</c:v>
                </c:pt>
                <c:pt idx="337">
                  <c:v>0.0</c:v>
                </c:pt>
                <c:pt idx="338">
                  <c:v>3.4</c:v>
                </c:pt>
                <c:pt idx="339">
                  <c:v>0.0</c:v>
                </c:pt>
                <c:pt idx="340">
                  <c:v>0.0</c:v>
                </c:pt>
                <c:pt idx="341">
                  <c:v>0.0</c:v>
                </c:pt>
                <c:pt idx="342">
                  <c:v>0.0</c:v>
                </c:pt>
                <c:pt idx="343">
                  <c:v>0.0</c:v>
                </c:pt>
                <c:pt idx="344">
                  <c:v>0.0</c:v>
                </c:pt>
                <c:pt idx="345">
                  <c:v>0.0</c:v>
                </c:pt>
                <c:pt idx="346">
                  <c:v>0.0</c:v>
                </c:pt>
                <c:pt idx="347">
                  <c:v>0.0</c:v>
                </c:pt>
                <c:pt idx="348">
                  <c:v>0.0</c:v>
                </c:pt>
                <c:pt idx="349">
                  <c:v>0.0</c:v>
                </c:pt>
                <c:pt idx="350">
                  <c:v>0.0</c:v>
                </c:pt>
                <c:pt idx="351">
                  <c:v>0.0</c:v>
                </c:pt>
                <c:pt idx="352">
                  <c:v>0.0</c:v>
                </c:pt>
                <c:pt idx="353">
                  <c:v>0.0</c:v>
                </c:pt>
                <c:pt idx="354">
                  <c:v>0.0</c:v>
                </c:pt>
                <c:pt idx="355">
                  <c:v>0.0</c:v>
                </c:pt>
                <c:pt idx="356">
                  <c:v>0.0</c:v>
                </c:pt>
                <c:pt idx="357">
                  <c:v>0.0</c:v>
                </c:pt>
                <c:pt idx="358">
                  <c:v>0.0</c:v>
                </c:pt>
                <c:pt idx="359">
                  <c:v>0.0</c:v>
                </c:pt>
                <c:pt idx="360">
                  <c:v>0.0</c:v>
                </c:pt>
                <c:pt idx="361">
                  <c:v>0.0</c:v>
                </c:pt>
                <c:pt idx="362">
                  <c:v>3.4</c:v>
                </c:pt>
                <c:pt idx="363">
                  <c:v>0.0</c:v>
                </c:pt>
                <c:pt idx="364">
                  <c:v>0.0</c:v>
                </c:pt>
                <c:pt idx="365">
                  <c:v>0.0</c:v>
                </c:pt>
                <c:pt idx="366">
                  <c:v>0.0</c:v>
                </c:pt>
                <c:pt idx="367">
                  <c:v>0.2</c:v>
                </c:pt>
                <c:pt idx="368">
                  <c:v>0.0</c:v>
                </c:pt>
                <c:pt idx="369">
                  <c:v>0.0</c:v>
                </c:pt>
                <c:pt idx="370">
                  <c:v>5.8</c:v>
                </c:pt>
                <c:pt idx="371">
                  <c:v>0.0</c:v>
                </c:pt>
                <c:pt idx="372">
                  <c:v>0.0</c:v>
                </c:pt>
                <c:pt idx="373">
                  <c:v>0.0</c:v>
                </c:pt>
                <c:pt idx="374">
                  <c:v>0.0</c:v>
                </c:pt>
                <c:pt idx="375">
                  <c:v>0.0</c:v>
                </c:pt>
                <c:pt idx="376">
                  <c:v>0.2</c:v>
                </c:pt>
                <c:pt idx="377">
                  <c:v>0.0</c:v>
                </c:pt>
                <c:pt idx="378">
                  <c:v>0.0</c:v>
                </c:pt>
                <c:pt idx="379">
                  <c:v>0.0</c:v>
                </c:pt>
                <c:pt idx="380">
                  <c:v>4.0</c:v>
                </c:pt>
                <c:pt idx="381">
                  <c:v>0.0</c:v>
                </c:pt>
                <c:pt idx="382">
                  <c:v>0.0</c:v>
                </c:pt>
                <c:pt idx="383">
                  <c:v>0.0</c:v>
                </c:pt>
                <c:pt idx="384">
                  <c:v>0.0</c:v>
                </c:pt>
                <c:pt idx="385">
                  <c:v>0.0</c:v>
                </c:pt>
                <c:pt idx="386">
                  <c:v>0.0</c:v>
                </c:pt>
                <c:pt idx="387">
                  <c:v>0.0</c:v>
                </c:pt>
                <c:pt idx="388">
                  <c:v>3.1</c:v>
                </c:pt>
                <c:pt idx="389">
                  <c:v>0.0</c:v>
                </c:pt>
                <c:pt idx="390">
                  <c:v>3.4</c:v>
                </c:pt>
                <c:pt idx="391">
                  <c:v>0.0</c:v>
                </c:pt>
                <c:pt idx="392">
                  <c:v>0.0</c:v>
                </c:pt>
                <c:pt idx="393">
                  <c:v>0.0</c:v>
                </c:pt>
                <c:pt idx="394">
                  <c:v>0.0</c:v>
                </c:pt>
                <c:pt idx="395">
                  <c:v>0.0</c:v>
                </c:pt>
                <c:pt idx="396">
                  <c:v>0.0</c:v>
                </c:pt>
                <c:pt idx="397">
                  <c:v>1.2</c:v>
                </c:pt>
                <c:pt idx="398">
                  <c:v>0.0</c:v>
                </c:pt>
                <c:pt idx="399">
                  <c:v>0.0</c:v>
                </c:pt>
                <c:pt idx="400">
                  <c:v>1.2</c:v>
                </c:pt>
                <c:pt idx="401">
                  <c:v>0.0</c:v>
                </c:pt>
                <c:pt idx="402">
                  <c:v>0.0</c:v>
                </c:pt>
                <c:pt idx="403">
                  <c:v>0.0</c:v>
                </c:pt>
                <c:pt idx="404">
                  <c:v>0.0</c:v>
                </c:pt>
                <c:pt idx="405">
                  <c:v>0.0</c:v>
                </c:pt>
                <c:pt idx="406">
                  <c:v>0.0</c:v>
                </c:pt>
                <c:pt idx="407">
                  <c:v>0.0</c:v>
                </c:pt>
                <c:pt idx="408">
                  <c:v>0.0</c:v>
                </c:pt>
                <c:pt idx="409">
                  <c:v>0.0</c:v>
                </c:pt>
                <c:pt idx="410">
                  <c:v>0.0</c:v>
                </c:pt>
                <c:pt idx="411">
                  <c:v>0.0</c:v>
                </c:pt>
                <c:pt idx="412">
                  <c:v>0.0</c:v>
                </c:pt>
                <c:pt idx="413">
                  <c:v>0.0</c:v>
                </c:pt>
                <c:pt idx="414">
                  <c:v>0.0</c:v>
                </c:pt>
                <c:pt idx="415">
                  <c:v>1.2</c:v>
                </c:pt>
                <c:pt idx="416">
                  <c:v>0.0</c:v>
                </c:pt>
                <c:pt idx="417">
                  <c:v>0.0</c:v>
                </c:pt>
                <c:pt idx="418">
                  <c:v>0.0</c:v>
                </c:pt>
                <c:pt idx="419">
                  <c:v>0.0</c:v>
                </c:pt>
                <c:pt idx="420">
                  <c:v>0.0</c:v>
                </c:pt>
                <c:pt idx="421">
                  <c:v>0.0</c:v>
                </c:pt>
                <c:pt idx="422">
                  <c:v>0.0</c:v>
                </c:pt>
                <c:pt idx="423">
                  <c:v>0.0</c:v>
                </c:pt>
                <c:pt idx="424">
                  <c:v>0.0</c:v>
                </c:pt>
                <c:pt idx="425">
                  <c:v>0.0</c:v>
                </c:pt>
                <c:pt idx="426">
                  <c:v>0.0</c:v>
                </c:pt>
                <c:pt idx="427">
                  <c:v>3.2</c:v>
                </c:pt>
                <c:pt idx="428">
                  <c:v>0.0</c:v>
                </c:pt>
                <c:pt idx="429">
                  <c:v>1.6</c:v>
                </c:pt>
                <c:pt idx="430">
                  <c:v>0.0</c:v>
                </c:pt>
                <c:pt idx="431">
                  <c:v>1.2</c:v>
                </c:pt>
                <c:pt idx="432">
                  <c:v>0.0</c:v>
                </c:pt>
                <c:pt idx="433">
                  <c:v>3.2</c:v>
                </c:pt>
                <c:pt idx="434">
                  <c:v>6.1</c:v>
                </c:pt>
                <c:pt idx="435">
                  <c:v>0.0</c:v>
                </c:pt>
                <c:pt idx="436">
                  <c:v>0.0</c:v>
                </c:pt>
                <c:pt idx="437">
                  <c:v>1.2</c:v>
                </c:pt>
                <c:pt idx="438">
                  <c:v>0.0</c:v>
                </c:pt>
                <c:pt idx="439">
                  <c:v>3.8</c:v>
                </c:pt>
                <c:pt idx="440">
                  <c:v>0.0</c:v>
                </c:pt>
                <c:pt idx="441">
                  <c:v>0.0</c:v>
                </c:pt>
                <c:pt idx="442">
                  <c:v>1.6</c:v>
                </c:pt>
                <c:pt idx="443">
                  <c:v>0.0</c:v>
                </c:pt>
                <c:pt idx="444">
                  <c:v>0.0</c:v>
                </c:pt>
                <c:pt idx="445">
                  <c:v>0.0</c:v>
                </c:pt>
                <c:pt idx="446">
                  <c:v>0.0</c:v>
                </c:pt>
                <c:pt idx="447">
                  <c:v>0.0</c:v>
                </c:pt>
                <c:pt idx="448">
                  <c:v>0.0</c:v>
                </c:pt>
                <c:pt idx="449">
                  <c:v>0.0</c:v>
                </c:pt>
                <c:pt idx="450">
                  <c:v>0.0</c:v>
                </c:pt>
                <c:pt idx="451">
                  <c:v>0.0</c:v>
                </c:pt>
                <c:pt idx="452">
                  <c:v>0.0</c:v>
                </c:pt>
                <c:pt idx="453">
                  <c:v>0.0</c:v>
                </c:pt>
                <c:pt idx="454">
                  <c:v>0.0</c:v>
                </c:pt>
                <c:pt idx="455">
                  <c:v>0.0</c:v>
                </c:pt>
                <c:pt idx="456">
                  <c:v>2.2</c:v>
                </c:pt>
                <c:pt idx="457">
                  <c:v>4.1</c:v>
                </c:pt>
                <c:pt idx="458">
                  <c:v>5.6</c:v>
                </c:pt>
                <c:pt idx="459">
                  <c:v>0.0</c:v>
                </c:pt>
                <c:pt idx="460">
                  <c:v>0.0</c:v>
                </c:pt>
                <c:pt idx="461">
                  <c:v>0.0</c:v>
                </c:pt>
                <c:pt idx="462">
                  <c:v>3.4</c:v>
                </c:pt>
                <c:pt idx="463">
                  <c:v>0.0</c:v>
                </c:pt>
                <c:pt idx="464">
                  <c:v>0.0</c:v>
                </c:pt>
                <c:pt idx="465">
                  <c:v>0.0</c:v>
                </c:pt>
                <c:pt idx="466">
                  <c:v>0.0</c:v>
                </c:pt>
                <c:pt idx="467">
                  <c:v>0.0</c:v>
                </c:pt>
                <c:pt idx="468">
                  <c:v>3.2</c:v>
                </c:pt>
                <c:pt idx="469">
                  <c:v>0.0</c:v>
                </c:pt>
                <c:pt idx="470">
                  <c:v>1.2</c:v>
                </c:pt>
                <c:pt idx="471">
                  <c:v>0.0</c:v>
                </c:pt>
                <c:pt idx="472">
                  <c:v>1.2</c:v>
                </c:pt>
                <c:pt idx="473">
                  <c:v>0.0</c:v>
                </c:pt>
                <c:pt idx="474">
                  <c:v>0.0</c:v>
                </c:pt>
                <c:pt idx="475">
                  <c:v>2.8</c:v>
                </c:pt>
                <c:pt idx="476">
                  <c:v>0.0</c:v>
                </c:pt>
                <c:pt idx="477">
                  <c:v>0.0</c:v>
                </c:pt>
                <c:pt idx="478">
                  <c:v>1.2</c:v>
                </c:pt>
                <c:pt idx="479">
                  <c:v>0.0</c:v>
                </c:pt>
                <c:pt idx="480">
                  <c:v>3.6</c:v>
                </c:pt>
                <c:pt idx="481">
                  <c:v>0.0</c:v>
                </c:pt>
                <c:pt idx="482">
                  <c:v>0.0</c:v>
                </c:pt>
                <c:pt idx="483">
                  <c:v>0.0</c:v>
                </c:pt>
                <c:pt idx="484">
                  <c:v>0.0</c:v>
                </c:pt>
                <c:pt idx="485">
                  <c:v>3.2</c:v>
                </c:pt>
                <c:pt idx="486">
                  <c:v>0.0</c:v>
                </c:pt>
                <c:pt idx="487">
                  <c:v>0.0</c:v>
                </c:pt>
                <c:pt idx="488">
                  <c:v>0.0</c:v>
                </c:pt>
                <c:pt idx="489">
                  <c:v>0.0</c:v>
                </c:pt>
                <c:pt idx="490">
                  <c:v>0.0</c:v>
                </c:pt>
                <c:pt idx="491">
                  <c:v>4.4</c:v>
                </c:pt>
                <c:pt idx="492">
                  <c:v>0.0</c:v>
                </c:pt>
                <c:pt idx="493">
                  <c:v>0.0</c:v>
                </c:pt>
                <c:pt idx="494">
                  <c:v>3.2</c:v>
                </c:pt>
                <c:pt idx="495">
                  <c:v>0.0</c:v>
                </c:pt>
                <c:pt idx="496">
                  <c:v>0.0</c:v>
                </c:pt>
                <c:pt idx="497">
                  <c:v>0.0</c:v>
                </c:pt>
                <c:pt idx="498">
                  <c:v>0.0</c:v>
                </c:pt>
                <c:pt idx="499">
                  <c:v>0.0</c:v>
                </c:pt>
                <c:pt idx="500">
                  <c:v>0.0</c:v>
                </c:pt>
                <c:pt idx="501">
                  <c:v>0.0</c:v>
                </c:pt>
                <c:pt idx="502">
                  <c:v>0.0</c:v>
                </c:pt>
                <c:pt idx="503">
                  <c:v>0.8</c:v>
                </c:pt>
                <c:pt idx="504">
                  <c:v>0.0</c:v>
                </c:pt>
                <c:pt idx="505">
                  <c:v>0.0</c:v>
                </c:pt>
                <c:pt idx="506">
                  <c:v>0.0</c:v>
                </c:pt>
                <c:pt idx="507">
                  <c:v>0.0</c:v>
                </c:pt>
                <c:pt idx="508">
                  <c:v>0.0</c:v>
                </c:pt>
                <c:pt idx="509">
                  <c:v>0.0</c:v>
                </c:pt>
                <c:pt idx="510">
                  <c:v>7.1</c:v>
                </c:pt>
                <c:pt idx="511">
                  <c:v>0.0</c:v>
                </c:pt>
                <c:pt idx="512">
                  <c:v>0.0</c:v>
                </c:pt>
                <c:pt idx="513">
                  <c:v>0.0</c:v>
                </c:pt>
                <c:pt idx="514">
                  <c:v>0.0</c:v>
                </c:pt>
                <c:pt idx="515">
                  <c:v>0.0</c:v>
                </c:pt>
                <c:pt idx="516">
                  <c:v>0.0</c:v>
                </c:pt>
                <c:pt idx="517">
                  <c:v>0.0</c:v>
                </c:pt>
                <c:pt idx="518">
                  <c:v>0.0</c:v>
                </c:pt>
                <c:pt idx="519">
                  <c:v>0.0</c:v>
                </c:pt>
                <c:pt idx="520">
                  <c:v>0.0</c:v>
                </c:pt>
                <c:pt idx="521">
                  <c:v>0.0</c:v>
                </c:pt>
                <c:pt idx="522">
                  <c:v>0.0</c:v>
                </c:pt>
                <c:pt idx="523">
                  <c:v>0.0</c:v>
                </c:pt>
                <c:pt idx="524">
                  <c:v>0.0</c:v>
                </c:pt>
                <c:pt idx="525">
                  <c:v>0.0</c:v>
                </c:pt>
                <c:pt idx="526">
                  <c:v>3.4</c:v>
                </c:pt>
                <c:pt idx="527">
                  <c:v>0.0</c:v>
                </c:pt>
                <c:pt idx="528">
                  <c:v>0.0</c:v>
                </c:pt>
                <c:pt idx="529">
                  <c:v>0.0</c:v>
                </c:pt>
                <c:pt idx="530">
                  <c:v>1.2</c:v>
                </c:pt>
                <c:pt idx="531">
                  <c:v>0.0</c:v>
                </c:pt>
                <c:pt idx="532">
                  <c:v>0.0</c:v>
                </c:pt>
                <c:pt idx="533">
                  <c:v>3.2</c:v>
                </c:pt>
                <c:pt idx="534">
                  <c:v>0.0</c:v>
                </c:pt>
                <c:pt idx="535">
                  <c:v>0.0</c:v>
                </c:pt>
                <c:pt idx="536">
                  <c:v>0.0</c:v>
                </c:pt>
                <c:pt idx="537">
                  <c:v>0.0</c:v>
                </c:pt>
                <c:pt idx="538">
                  <c:v>0.0</c:v>
                </c:pt>
                <c:pt idx="539">
                  <c:v>0.0</c:v>
                </c:pt>
                <c:pt idx="540">
                  <c:v>0.0</c:v>
                </c:pt>
                <c:pt idx="541">
                  <c:v>1.2</c:v>
                </c:pt>
                <c:pt idx="542">
                  <c:v>0.0</c:v>
                </c:pt>
                <c:pt idx="543">
                  <c:v>0.0</c:v>
                </c:pt>
                <c:pt idx="544">
                  <c:v>0.0</c:v>
                </c:pt>
                <c:pt idx="545">
                  <c:v>0.0</c:v>
                </c:pt>
                <c:pt idx="546">
                  <c:v>0.0</c:v>
                </c:pt>
                <c:pt idx="547">
                  <c:v>0.0</c:v>
                </c:pt>
                <c:pt idx="548">
                  <c:v>0.0</c:v>
                </c:pt>
                <c:pt idx="549">
                  <c:v>0.0</c:v>
                </c:pt>
                <c:pt idx="550">
                  <c:v>0.0</c:v>
                </c:pt>
                <c:pt idx="551">
                  <c:v>0.0</c:v>
                </c:pt>
                <c:pt idx="552">
                  <c:v>0.0</c:v>
                </c:pt>
                <c:pt idx="553">
                  <c:v>0.0</c:v>
                </c:pt>
                <c:pt idx="554">
                  <c:v>0.0</c:v>
                </c:pt>
                <c:pt idx="555">
                  <c:v>0.0</c:v>
                </c:pt>
                <c:pt idx="556">
                  <c:v>0.0</c:v>
                </c:pt>
                <c:pt idx="557">
                  <c:v>0.0</c:v>
                </c:pt>
                <c:pt idx="558">
                  <c:v>0.0</c:v>
                </c:pt>
                <c:pt idx="559">
                  <c:v>0.0</c:v>
                </c:pt>
                <c:pt idx="560">
                  <c:v>0.0</c:v>
                </c:pt>
                <c:pt idx="561">
                  <c:v>0.0</c:v>
                </c:pt>
                <c:pt idx="562">
                  <c:v>0.0</c:v>
                </c:pt>
                <c:pt idx="563">
                  <c:v>0.0</c:v>
                </c:pt>
                <c:pt idx="564">
                  <c:v>0.0</c:v>
                </c:pt>
                <c:pt idx="565">
                  <c:v>0.0</c:v>
                </c:pt>
                <c:pt idx="566">
                  <c:v>0.0</c:v>
                </c:pt>
                <c:pt idx="567">
                  <c:v>0.0</c:v>
                </c:pt>
                <c:pt idx="568">
                  <c:v>0.0</c:v>
                </c:pt>
                <c:pt idx="569">
                  <c:v>0.0</c:v>
                </c:pt>
                <c:pt idx="570">
                  <c:v>0.0</c:v>
                </c:pt>
                <c:pt idx="571">
                  <c:v>0.0</c:v>
                </c:pt>
                <c:pt idx="572">
                  <c:v>0.0</c:v>
                </c:pt>
                <c:pt idx="573">
                  <c:v>0.0</c:v>
                </c:pt>
                <c:pt idx="574">
                  <c:v>0.0</c:v>
                </c:pt>
                <c:pt idx="575">
                  <c:v>0.0</c:v>
                </c:pt>
                <c:pt idx="576">
                  <c:v>0.0</c:v>
                </c:pt>
                <c:pt idx="577">
                  <c:v>0.0</c:v>
                </c:pt>
                <c:pt idx="578">
                  <c:v>0.0</c:v>
                </c:pt>
                <c:pt idx="579">
                  <c:v>0.0</c:v>
                </c:pt>
                <c:pt idx="580">
                  <c:v>0.0</c:v>
                </c:pt>
                <c:pt idx="581">
                  <c:v>0.0</c:v>
                </c:pt>
                <c:pt idx="582">
                  <c:v>0.0</c:v>
                </c:pt>
                <c:pt idx="583">
                  <c:v>1.2</c:v>
                </c:pt>
                <c:pt idx="584">
                  <c:v>0.0</c:v>
                </c:pt>
                <c:pt idx="585">
                  <c:v>0.0</c:v>
                </c:pt>
                <c:pt idx="586">
                  <c:v>0.0</c:v>
                </c:pt>
                <c:pt idx="587">
                  <c:v>0.0</c:v>
                </c:pt>
                <c:pt idx="588">
                  <c:v>0.0</c:v>
                </c:pt>
                <c:pt idx="589">
                  <c:v>0.0</c:v>
                </c:pt>
                <c:pt idx="590">
                  <c:v>0.0</c:v>
                </c:pt>
                <c:pt idx="591">
                  <c:v>0.0</c:v>
                </c:pt>
                <c:pt idx="592">
                  <c:v>0.0</c:v>
                </c:pt>
                <c:pt idx="593">
                  <c:v>0.0</c:v>
                </c:pt>
                <c:pt idx="594">
                  <c:v>0.0</c:v>
                </c:pt>
                <c:pt idx="595">
                  <c:v>0.0</c:v>
                </c:pt>
                <c:pt idx="596">
                  <c:v>0.0</c:v>
                </c:pt>
                <c:pt idx="597">
                  <c:v>0.0</c:v>
                </c:pt>
                <c:pt idx="598">
                  <c:v>0.0</c:v>
                </c:pt>
                <c:pt idx="599">
                  <c:v>0.0</c:v>
                </c:pt>
                <c:pt idx="600">
                  <c:v>0.0</c:v>
                </c:pt>
                <c:pt idx="601">
                  <c:v>0.0</c:v>
                </c:pt>
                <c:pt idx="602">
                  <c:v>0.0</c:v>
                </c:pt>
                <c:pt idx="603">
                  <c:v>0.0</c:v>
                </c:pt>
                <c:pt idx="604">
                  <c:v>0.0</c:v>
                </c:pt>
                <c:pt idx="605">
                  <c:v>3.2</c:v>
                </c:pt>
                <c:pt idx="606">
                  <c:v>1.2</c:v>
                </c:pt>
                <c:pt idx="607">
                  <c:v>0.0</c:v>
                </c:pt>
                <c:pt idx="608">
                  <c:v>0.0</c:v>
                </c:pt>
                <c:pt idx="609">
                  <c:v>0.0</c:v>
                </c:pt>
                <c:pt idx="610">
                  <c:v>0.4</c:v>
                </c:pt>
                <c:pt idx="611">
                  <c:v>0.0</c:v>
                </c:pt>
                <c:pt idx="612">
                  <c:v>5.2</c:v>
                </c:pt>
                <c:pt idx="613">
                  <c:v>0.0</c:v>
                </c:pt>
                <c:pt idx="614">
                  <c:v>0.0</c:v>
                </c:pt>
                <c:pt idx="615">
                  <c:v>0.0</c:v>
                </c:pt>
                <c:pt idx="616">
                  <c:v>0.0</c:v>
                </c:pt>
                <c:pt idx="617">
                  <c:v>0.0</c:v>
                </c:pt>
                <c:pt idx="618">
                  <c:v>0.0</c:v>
                </c:pt>
                <c:pt idx="619">
                  <c:v>0.0</c:v>
                </c:pt>
                <c:pt idx="620">
                  <c:v>0.0</c:v>
                </c:pt>
                <c:pt idx="621">
                  <c:v>0.0</c:v>
                </c:pt>
                <c:pt idx="622">
                  <c:v>0.0</c:v>
                </c:pt>
                <c:pt idx="623">
                  <c:v>0.0</c:v>
                </c:pt>
                <c:pt idx="624">
                  <c:v>0.0</c:v>
                </c:pt>
                <c:pt idx="625">
                  <c:v>0.0</c:v>
                </c:pt>
                <c:pt idx="626">
                  <c:v>0.0</c:v>
                </c:pt>
                <c:pt idx="627">
                  <c:v>0.0</c:v>
                </c:pt>
                <c:pt idx="628">
                  <c:v>0.0</c:v>
                </c:pt>
                <c:pt idx="629">
                  <c:v>0.0</c:v>
                </c:pt>
                <c:pt idx="630">
                  <c:v>0.0</c:v>
                </c:pt>
                <c:pt idx="631">
                  <c:v>0.0</c:v>
                </c:pt>
                <c:pt idx="632">
                  <c:v>0.0</c:v>
                </c:pt>
                <c:pt idx="633">
                  <c:v>0.0</c:v>
                </c:pt>
                <c:pt idx="634">
                  <c:v>2.6</c:v>
                </c:pt>
                <c:pt idx="635">
                  <c:v>1.4</c:v>
                </c:pt>
                <c:pt idx="636">
                  <c:v>0.0</c:v>
                </c:pt>
                <c:pt idx="637">
                  <c:v>0.0</c:v>
                </c:pt>
                <c:pt idx="638">
                  <c:v>0.0</c:v>
                </c:pt>
                <c:pt idx="639">
                  <c:v>0.0</c:v>
                </c:pt>
                <c:pt idx="640">
                  <c:v>0.0</c:v>
                </c:pt>
                <c:pt idx="641">
                  <c:v>0.0</c:v>
                </c:pt>
                <c:pt idx="642">
                  <c:v>0.0</c:v>
                </c:pt>
                <c:pt idx="643">
                  <c:v>0.0</c:v>
                </c:pt>
                <c:pt idx="644">
                  <c:v>3.6</c:v>
                </c:pt>
                <c:pt idx="645">
                  <c:v>0.0</c:v>
                </c:pt>
                <c:pt idx="646">
                  <c:v>0.0</c:v>
                </c:pt>
                <c:pt idx="647">
                  <c:v>0.0</c:v>
                </c:pt>
                <c:pt idx="648">
                  <c:v>0.0</c:v>
                </c:pt>
                <c:pt idx="649">
                  <c:v>0.0</c:v>
                </c:pt>
                <c:pt idx="650">
                  <c:v>0.0</c:v>
                </c:pt>
                <c:pt idx="651">
                  <c:v>0.0</c:v>
                </c:pt>
                <c:pt idx="652">
                  <c:v>0.0</c:v>
                </c:pt>
                <c:pt idx="653">
                  <c:v>0.0</c:v>
                </c:pt>
                <c:pt idx="654">
                  <c:v>0.0</c:v>
                </c:pt>
                <c:pt idx="655">
                  <c:v>0.0</c:v>
                </c:pt>
                <c:pt idx="656">
                  <c:v>3.4</c:v>
                </c:pt>
                <c:pt idx="657">
                  <c:v>0.0</c:v>
                </c:pt>
                <c:pt idx="658">
                  <c:v>0.0</c:v>
                </c:pt>
                <c:pt idx="659">
                  <c:v>5.0</c:v>
                </c:pt>
                <c:pt idx="660">
                  <c:v>0.0</c:v>
                </c:pt>
                <c:pt idx="661">
                  <c:v>1.4</c:v>
                </c:pt>
                <c:pt idx="662">
                  <c:v>3.8</c:v>
                </c:pt>
                <c:pt idx="663">
                  <c:v>0.0</c:v>
                </c:pt>
                <c:pt idx="664">
                  <c:v>0.0</c:v>
                </c:pt>
                <c:pt idx="665">
                  <c:v>0.0</c:v>
                </c:pt>
                <c:pt idx="666">
                  <c:v>0.0</c:v>
                </c:pt>
                <c:pt idx="667">
                  <c:v>3.4</c:v>
                </c:pt>
                <c:pt idx="668">
                  <c:v>0.0</c:v>
                </c:pt>
                <c:pt idx="669">
                  <c:v>1.2</c:v>
                </c:pt>
                <c:pt idx="670">
                  <c:v>0.0</c:v>
                </c:pt>
                <c:pt idx="671">
                  <c:v>0.0</c:v>
                </c:pt>
                <c:pt idx="672">
                  <c:v>0.0</c:v>
                </c:pt>
                <c:pt idx="673">
                  <c:v>0.0</c:v>
                </c:pt>
                <c:pt idx="674">
                  <c:v>3.2</c:v>
                </c:pt>
                <c:pt idx="675">
                  <c:v>0.0</c:v>
                </c:pt>
                <c:pt idx="676">
                  <c:v>0.0</c:v>
                </c:pt>
                <c:pt idx="677">
                  <c:v>0.0</c:v>
                </c:pt>
                <c:pt idx="678">
                  <c:v>0.0</c:v>
                </c:pt>
                <c:pt idx="679">
                  <c:v>0.0</c:v>
                </c:pt>
                <c:pt idx="680">
                  <c:v>0.0</c:v>
                </c:pt>
                <c:pt idx="681">
                  <c:v>0.0</c:v>
                </c:pt>
                <c:pt idx="682">
                  <c:v>0.0</c:v>
                </c:pt>
                <c:pt idx="683">
                  <c:v>0.0</c:v>
                </c:pt>
                <c:pt idx="684">
                  <c:v>0.0</c:v>
                </c:pt>
                <c:pt idx="685">
                  <c:v>0.0</c:v>
                </c:pt>
                <c:pt idx="686">
                  <c:v>0.0</c:v>
                </c:pt>
                <c:pt idx="687">
                  <c:v>0.0</c:v>
                </c:pt>
                <c:pt idx="688">
                  <c:v>0.0</c:v>
                </c:pt>
                <c:pt idx="689">
                  <c:v>0.0</c:v>
                </c:pt>
                <c:pt idx="690">
                  <c:v>0.0</c:v>
                </c:pt>
                <c:pt idx="691">
                  <c:v>3.8</c:v>
                </c:pt>
                <c:pt idx="692">
                  <c:v>0.0</c:v>
                </c:pt>
                <c:pt idx="693">
                  <c:v>0.0</c:v>
                </c:pt>
                <c:pt idx="694">
                  <c:v>0.0</c:v>
                </c:pt>
                <c:pt idx="695">
                  <c:v>0.0</c:v>
                </c:pt>
                <c:pt idx="696">
                  <c:v>0.0</c:v>
                </c:pt>
                <c:pt idx="697">
                  <c:v>0.0</c:v>
                </c:pt>
                <c:pt idx="698">
                  <c:v>1.2</c:v>
                </c:pt>
                <c:pt idx="699">
                  <c:v>0.0</c:v>
                </c:pt>
                <c:pt idx="700">
                  <c:v>0.0</c:v>
                </c:pt>
                <c:pt idx="701">
                  <c:v>0.0</c:v>
                </c:pt>
                <c:pt idx="702">
                  <c:v>0.0</c:v>
                </c:pt>
                <c:pt idx="703">
                  <c:v>0.0</c:v>
                </c:pt>
                <c:pt idx="704">
                  <c:v>0.0</c:v>
                </c:pt>
                <c:pt idx="705">
                  <c:v>0.0</c:v>
                </c:pt>
                <c:pt idx="706">
                  <c:v>0.0</c:v>
                </c:pt>
                <c:pt idx="707">
                  <c:v>0.0</c:v>
                </c:pt>
                <c:pt idx="708">
                  <c:v>0.0</c:v>
                </c:pt>
                <c:pt idx="709">
                  <c:v>0.0</c:v>
                </c:pt>
                <c:pt idx="710">
                  <c:v>0.0</c:v>
                </c:pt>
                <c:pt idx="711">
                  <c:v>0.0</c:v>
                </c:pt>
                <c:pt idx="712">
                  <c:v>0.0</c:v>
                </c:pt>
                <c:pt idx="713">
                  <c:v>0.0</c:v>
                </c:pt>
                <c:pt idx="714">
                  <c:v>0.0</c:v>
                </c:pt>
                <c:pt idx="715">
                  <c:v>0.0</c:v>
                </c:pt>
                <c:pt idx="716">
                  <c:v>0.0</c:v>
                </c:pt>
                <c:pt idx="717">
                  <c:v>0.0</c:v>
                </c:pt>
                <c:pt idx="718">
                  <c:v>0.0</c:v>
                </c:pt>
                <c:pt idx="719">
                  <c:v>0.0</c:v>
                </c:pt>
                <c:pt idx="720">
                  <c:v>0.0</c:v>
                </c:pt>
                <c:pt idx="721">
                  <c:v>0.0</c:v>
                </c:pt>
                <c:pt idx="722">
                  <c:v>1.2</c:v>
                </c:pt>
                <c:pt idx="723">
                  <c:v>1.4</c:v>
                </c:pt>
                <c:pt idx="724">
                  <c:v>3.2</c:v>
                </c:pt>
                <c:pt idx="725">
                  <c:v>0.0</c:v>
                </c:pt>
                <c:pt idx="726">
                  <c:v>0.0</c:v>
                </c:pt>
                <c:pt idx="727">
                  <c:v>0.0</c:v>
                </c:pt>
                <c:pt idx="728">
                  <c:v>0.0</c:v>
                </c:pt>
                <c:pt idx="729">
                  <c:v>0.0</c:v>
                </c:pt>
              </c:numCache>
            </c:numRef>
          </c:yVal>
          <c:bubbleSize>
            <c:numRef>
              <c:f>Sheet1!$C$2:$C$731</c:f>
              <c:numCache>
                <c:formatCode>General</c:formatCode>
                <c:ptCount val="730"/>
                <c:pt idx="0">
                  <c:v>4946.0</c:v>
                </c:pt>
                <c:pt idx="1">
                  <c:v>4937.0</c:v>
                </c:pt>
                <c:pt idx="2">
                  <c:v>4898.0</c:v>
                </c:pt>
                <c:pt idx="3">
                  <c:v>4851.0</c:v>
                </c:pt>
                <c:pt idx="4">
                  <c:v>4833.0</c:v>
                </c:pt>
                <c:pt idx="5">
                  <c:v>4771.0</c:v>
                </c:pt>
                <c:pt idx="6">
                  <c:v>4740.0</c:v>
                </c:pt>
                <c:pt idx="7">
                  <c:v>4727.0</c:v>
                </c:pt>
                <c:pt idx="8">
                  <c:v>4711.0</c:v>
                </c:pt>
                <c:pt idx="9">
                  <c:v>4668.0</c:v>
                </c:pt>
                <c:pt idx="10">
                  <c:v>4640.0</c:v>
                </c:pt>
                <c:pt idx="11">
                  <c:v>4561.0</c:v>
                </c:pt>
                <c:pt idx="12">
                  <c:v>4362.0</c:v>
                </c:pt>
                <c:pt idx="13">
                  <c:v>4299.0</c:v>
                </c:pt>
                <c:pt idx="14">
                  <c:v>4235.0</c:v>
                </c:pt>
                <c:pt idx="15">
                  <c:v>4225.0</c:v>
                </c:pt>
                <c:pt idx="16">
                  <c:v>4218.0</c:v>
                </c:pt>
                <c:pt idx="17">
                  <c:v>4203.0</c:v>
                </c:pt>
                <c:pt idx="18">
                  <c:v>4167.0</c:v>
                </c:pt>
                <c:pt idx="19">
                  <c:v>4163.0</c:v>
                </c:pt>
                <c:pt idx="20">
                  <c:v>4156.0</c:v>
                </c:pt>
                <c:pt idx="21">
                  <c:v>4133.0</c:v>
                </c:pt>
                <c:pt idx="22">
                  <c:v>4130.0</c:v>
                </c:pt>
                <c:pt idx="23">
                  <c:v>4081.0</c:v>
                </c:pt>
                <c:pt idx="24">
                  <c:v>4071.0</c:v>
                </c:pt>
                <c:pt idx="25">
                  <c:v>4049.0</c:v>
                </c:pt>
                <c:pt idx="26">
                  <c:v>4043.0</c:v>
                </c:pt>
                <c:pt idx="27">
                  <c:v>4028.0</c:v>
                </c:pt>
                <c:pt idx="28">
                  <c:v>4013.0</c:v>
                </c:pt>
                <c:pt idx="29">
                  <c:v>4007.0</c:v>
                </c:pt>
                <c:pt idx="30">
                  <c:v>4003.0</c:v>
                </c:pt>
                <c:pt idx="31">
                  <c:v>3974.0</c:v>
                </c:pt>
                <c:pt idx="32">
                  <c:v>3969.0</c:v>
                </c:pt>
                <c:pt idx="33">
                  <c:v>3913.0</c:v>
                </c:pt>
                <c:pt idx="34">
                  <c:v>3894.0</c:v>
                </c:pt>
                <c:pt idx="35">
                  <c:v>3874.0</c:v>
                </c:pt>
                <c:pt idx="36">
                  <c:v>3865.0</c:v>
                </c:pt>
                <c:pt idx="37">
                  <c:v>3862.0</c:v>
                </c:pt>
                <c:pt idx="38">
                  <c:v>3833.0</c:v>
                </c:pt>
                <c:pt idx="39">
                  <c:v>3811.0</c:v>
                </c:pt>
                <c:pt idx="40">
                  <c:v>3770.0</c:v>
                </c:pt>
                <c:pt idx="41">
                  <c:v>3744.0</c:v>
                </c:pt>
                <c:pt idx="42">
                  <c:v>3688.0</c:v>
                </c:pt>
                <c:pt idx="43">
                  <c:v>3673.0</c:v>
                </c:pt>
                <c:pt idx="44">
                  <c:v>3663.0</c:v>
                </c:pt>
                <c:pt idx="45">
                  <c:v>3638.0</c:v>
                </c:pt>
                <c:pt idx="46">
                  <c:v>3625.0</c:v>
                </c:pt>
                <c:pt idx="47">
                  <c:v>3611.0</c:v>
                </c:pt>
                <c:pt idx="48">
                  <c:v>3600.0</c:v>
                </c:pt>
                <c:pt idx="49">
                  <c:v>3583.0</c:v>
                </c:pt>
                <c:pt idx="50">
                  <c:v>3559.0</c:v>
                </c:pt>
                <c:pt idx="51">
                  <c:v>3542.0</c:v>
                </c:pt>
                <c:pt idx="52">
                  <c:v>3528.0</c:v>
                </c:pt>
                <c:pt idx="53">
                  <c:v>3528.0</c:v>
                </c:pt>
                <c:pt idx="54">
                  <c:v>3518.0</c:v>
                </c:pt>
                <c:pt idx="55">
                  <c:v>3512.0</c:v>
                </c:pt>
                <c:pt idx="56">
                  <c:v>3502.0</c:v>
                </c:pt>
                <c:pt idx="57">
                  <c:v>3457.0</c:v>
                </c:pt>
                <c:pt idx="58">
                  <c:v>3454.0</c:v>
                </c:pt>
                <c:pt idx="59">
                  <c:v>3450.0</c:v>
                </c:pt>
                <c:pt idx="60">
                  <c:v>3417.0</c:v>
                </c:pt>
                <c:pt idx="61">
                  <c:v>3410.0</c:v>
                </c:pt>
                <c:pt idx="62">
                  <c:v>3372.0</c:v>
                </c:pt>
                <c:pt idx="63">
                  <c:v>3321.0</c:v>
                </c:pt>
                <c:pt idx="64">
                  <c:v>3268.0</c:v>
                </c:pt>
                <c:pt idx="65">
                  <c:v>3244.0</c:v>
                </c:pt>
                <c:pt idx="66">
                  <c:v>3217.0</c:v>
                </c:pt>
                <c:pt idx="67">
                  <c:v>3201.0</c:v>
                </c:pt>
                <c:pt idx="68">
                  <c:v>3198.0</c:v>
                </c:pt>
                <c:pt idx="69">
                  <c:v>3166.0</c:v>
                </c:pt>
                <c:pt idx="70">
                  <c:v>3154.0</c:v>
                </c:pt>
                <c:pt idx="71">
                  <c:v>3150.0</c:v>
                </c:pt>
                <c:pt idx="72">
                  <c:v>3140.0</c:v>
                </c:pt>
                <c:pt idx="73">
                  <c:v>3097.0</c:v>
                </c:pt>
                <c:pt idx="74">
                  <c:v>3037.0</c:v>
                </c:pt>
                <c:pt idx="75">
                  <c:v>3015.0</c:v>
                </c:pt>
                <c:pt idx="76">
                  <c:v>3005.0</c:v>
                </c:pt>
                <c:pt idx="77">
                  <c:v>3001.0</c:v>
                </c:pt>
                <c:pt idx="78">
                  <c:v>2992.0</c:v>
                </c:pt>
                <c:pt idx="79">
                  <c:v>2989.0</c:v>
                </c:pt>
                <c:pt idx="80">
                  <c:v>2985.0</c:v>
                </c:pt>
                <c:pt idx="81">
                  <c:v>2985.0</c:v>
                </c:pt>
                <c:pt idx="82">
                  <c:v>2954.0</c:v>
                </c:pt>
                <c:pt idx="83">
                  <c:v>2895.0</c:v>
                </c:pt>
                <c:pt idx="84">
                  <c:v>2882.0</c:v>
                </c:pt>
                <c:pt idx="85">
                  <c:v>2848.0</c:v>
                </c:pt>
                <c:pt idx="86">
                  <c:v>2846.0</c:v>
                </c:pt>
                <c:pt idx="87">
                  <c:v>2820.0</c:v>
                </c:pt>
                <c:pt idx="88">
                  <c:v>2819.0</c:v>
                </c:pt>
                <c:pt idx="89">
                  <c:v>2797.0</c:v>
                </c:pt>
                <c:pt idx="90">
                  <c:v>2795.0</c:v>
                </c:pt>
                <c:pt idx="91">
                  <c:v>2795.0</c:v>
                </c:pt>
                <c:pt idx="92">
                  <c:v>2791.0</c:v>
                </c:pt>
                <c:pt idx="93">
                  <c:v>2756.0</c:v>
                </c:pt>
                <c:pt idx="94">
                  <c:v>2748.0</c:v>
                </c:pt>
                <c:pt idx="95">
                  <c:v>2722.0</c:v>
                </c:pt>
                <c:pt idx="96">
                  <c:v>2714.0</c:v>
                </c:pt>
                <c:pt idx="97">
                  <c:v>2712.0</c:v>
                </c:pt>
                <c:pt idx="98">
                  <c:v>2702.0</c:v>
                </c:pt>
                <c:pt idx="99">
                  <c:v>2666.0</c:v>
                </c:pt>
                <c:pt idx="100">
                  <c:v>2654.0</c:v>
                </c:pt>
                <c:pt idx="101">
                  <c:v>2648.0</c:v>
                </c:pt>
                <c:pt idx="102">
                  <c:v>2645.0</c:v>
                </c:pt>
                <c:pt idx="103">
                  <c:v>2642.0</c:v>
                </c:pt>
                <c:pt idx="104">
                  <c:v>2626.0</c:v>
                </c:pt>
                <c:pt idx="105">
                  <c:v>2603.0</c:v>
                </c:pt>
                <c:pt idx="106">
                  <c:v>2575.0</c:v>
                </c:pt>
                <c:pt idx="107">
                  <c:v>2562.0</c:v>
                </c:pt>
                <c:pt idx="108">
                  <c:v>2554.0</c:v>
                </c:pt>
                <c:pt idx="109">
                  <c:v>2545.0</c:v>
                </c:pt>
                <c:pt idx="110">
                  <c:v>2515.0</c:v>
                </c:pt>
                <c:pt idx="111">
                  <c:v>2493.0</c:v>
                </c:pt>
                <c:pt idx="112">
                  <c:v>2482.0</c:v>
                </c:pt>
                <c:pt idx="113">
                  <c:v>2465.0</c:v>
                </c:pt>
                <c:pt idx="114">
                  <c:v>2437.0</c:v>
                </c:pt>
                <c:pt idx="115">
                  <c:v>2411.0</c:v>
                </c:pt>
                <c:pt idx="116">
                  <c:v>2399.0</c:v>
                </c:pt>
                <c:pt idx="117">
                  <c:v>2388.0</c:v>
                </c:pt>
                <c:pt idx="118">
                  <c:v>2380.0</c:v>
                </c:pt>
                <c:pt idx="119">
                  <c:v>2373.0</c:v>
                </c:pt>
                <c:pt idx="120">
                  <c:v>2359.0</c:v>
                </c:pt>
                <c:pt idx="121">
                  <c:v>2347.0</c:v>
                </c:pt>
                <c:pt idx="122">
                  <c:v>2343.0</c:v>
                </c:pt>
                <c:pt idx="123">
                  <c:v>2341.0</c:v>
                </c:pt>
                <c:pt idx="124">
                  <c:v>2340.0</c:v>
                </c:pt>
                <c:pt idx="125">
                  <c:v>2337.0</c:v>
                </c:pt>
                <c:pt idx="126">
                  <c:v>2324.0</c:v>
                </c:pt>
                <c:pt idx="127">
                  <c:v>2266.0</c:v>
                </c:pt>
                <c:pt idx="128">
                  <c:v>2243.0</c:v>
                </c:pt>
                <c:pt idx="129">
                  <c:v>2242.0</c:v>
                </c:pt>
                <c:pt idx="130">
                  <c:v>2233.0</c:v>
                </c:pt>
                <c:pt idx="131">
                  <c:v>2231.0</c:v>
                </c:pt>
                <c:pt idx="132">
                  <c:v>2184.0</c:v>
                </c:pt>
                <c:pt idx="133">
                  <c:v>2173.0</c:v>
                </c:pt>
                <c:pt idx="134">
                  <c:v>2155.0</c:v>
                </c:pt>
                <c:pt idx="135">
                  <c:v>2154.0</c:v>
                </c:pt>
                <c:pt idx="136">
                  <c:v>2150.0</c:v>
                </c:pt>
                <c:pt idx="137">
                  <c:v>2145.0</c:v>
                </c:pt>
                <c:pt idx="138">
                  <c:v>2142.0</c:v>
                </c:pt>
                <c:pt idx="139">
                  <c:v>2126.0</c:v>
                </c:pt>
                <c:pt idx="140">
                  <c:v>2125.0</c:v>
                </c:pt>
                <c:pt idx="141">
                  <c:v>2115.0</c:v>
                </c:pt>
                <c:pt idx="142">
                  <c:v>2100.0</c:v>
                </c:pt>
                <c:pt idx="143">
                  <c:v>2100.0</c:v>
                </c:pt>
                <c:pt idx="144">
                  <c:v>2100.0</c:v>
                </c:pt>
                <c:pt idx="145">
                  <c:v>2095.0</c:v>
                </c:pt>
                <c:pt idx="146">
                  <c:v>2090.0</c:v>
                </c:pt>
                <c:pt idx="147">
                  <c:v>2083.0</c:v>
                </c:pt>
                <c:pt idx="148">
                  <c:v>2071.0</c:v>
                </c:pt>
                <c:pt idx="149">
                  <c:v>2037.0</c:v>
                </c:pt>
                <c:pt idx="150">
                  <c:v>2025.0</c:v>
                </c:pt>
                <c:pt idx="151">
                  <c:v>1997.0</c:v>
                </c:pt>
                <c:pt idx="152">
                  <c:v>1992.0</c:v>
                </c:pt>
                <c:pt idx="153">
                  <c:v>1983.0</c:v>
                </c:pt>
                <c:pt idx="154">
                  <c:v>1978.0</c:v>
                </c:pt>
                <c:pt idx="155">
                  <c:v>1978.0</c:v>
                </c:pt>
                <c:pt idx="156">
                  <c:v>1962.0</c:v>
                </c:pt>
                <c:pt idx="157">
                  <c:v>1954.0</c:v>
                </c:pt>
                <c:pt idx="158">
                  <c:v>1953.0</c:v>
                </c:pt>
                <c:pt idx="159">
                  <c:v>1948.0</c:v>
                </c:pt>
                <c:pt idx="160">
                  <c:v>1947.0</c:v>
                </c:pt>
                <c:pt idx="161">
                  <c:v>1945.0</c:v>
                </c:pt>
                <c:pt idx="162">
                  <c:v>1944.0</c:v>
                </c:pt>
                <c:pt idx="163">
                  <c:v>1940.0</c:v>
                </c:pt>
                <c:pt idx="164">
                  <c:v>1924.0</c:v>
                </c:pt>
                <c:pt idx="165">
                  <c:v>1892.0</c:v>
                </c:pt>
                <c:pt idx="166">
                  <c:v>1890.0</c:v>
                </c:pt>
                <c:pt idx="167">
                  <c:v>1872.0</c:v>
                </c:pt>
                <c:pt idx="168">
                  <c:v>1869.0</c:v>
                </c:pt>
                <c:pt idx="169">
                  <c:v>1869.0</c:v>
                </c:pt>
                <c:pt idx="170">
                  <c:v>1866.0</c:v>
                </c:pt>
                <c:pt idx="171">
                  <c:v>1862.0</c:v>
                </c:pt>
                <c:pt idx="172">
                  <c:v>1855.0</c:v>
                </c:pt>
                <c:pt idx="173">
                  <c:v>1852.0</c:v>
                </c:pt>
                <c:pt idx="174">
                  <c:v>1851.0</c:v>
                </c:pt>
                <c:pt idx="175">
                  <c:v>1851.0</c:v>
                </c:pt>
                <c:pt idx="176">
                  <c:v>1846.0</c:v>
                </c:pt>
                <c:pt idx="177">
                  <c:v>1842.0</c:v>
                </c:pt>
                <c:pt idx="178">
                  <c:v>1839.0</c:v>
                </c:pt>
                <c:pt idx="179">
                  <c:v>1837.0</c:v>
                </c:pt>
                <c:pt idx="180">
                  <c:v>1836.0</c:v>
                </c:pt>
                <c:pt idx="181">
                  <c:v>1834.0</c:v>
                </c:pt>
                <c:pt idx="182">
                  <c:v>1811.0</c:v>
                </c:pt>
                <c:pt idx="183">
                  <c:v>1810.0</c:v>
                </c:pt>
                <c:pt idx="184">
                  <c:v>1804.0</c:v>
                </c:pt>
                <c:pt idx="185">
                  <c:v>1786.0</c:v>
                </c:pt>
                <c:pt idx="186">
                  <c:v>1784.0</c:v>
                </c:pt>
                <c:pt idx="187">
                  <c:v>1781.0</c:v>
                </c:pt>
                <c:pt idx="188">
                  <c:v>1778.0</c:v>
                </c:pt>
                <c:pt idx="189">
                  <c:v>1773.0</c:v>
                </c:pt>
                <c:pt idx="190">
                  <c:v>1766.0</c:v>
                </c:pt>
                <c:pt idx="191">
                  <c:v>1764.0</c:v>
                </c:pt>
                <c:pt idx="192">
                  <c:v>1761.0</c:v>
                </c:pt>
                <c:pt idx="193">
                  <c:v>1757.0</c:v>
                </c:pt>
                <c:pt idx="194">
                  <c:v>1752.0</c:v>
                </c:pt>
                <c:pt idx="195">
                  <c:v>1742.0</c:v>
                </c:pt>
                <c:pt idx="196">
                  <c:v>1740.0</c:v>
                </c:pt>
                <c:pt idx="197">
                  <c:v>1735.0</c:v>
                </c:pt>
                <c:pt idx="198">
                  <c:v>1734.0</c:v>
                </c:pt>
                <c:pt idx="199">
                  <c:v>1723.0</c:v>
                </c:pt>
                <c:pt idx="200">
                  <c:v>1721.0</c:v>
                </c:pt>
                <c:pt idx="201">
                  <c:v>1720.0</c:v>
                </c:pt>
                <c:pt idx="202">
                  <c:v>1714.0</c:v>
                </c:pt>
                <c:pt idx="203">
                  <c:v>1711.0</c:v>
                </c:pt>
                <c:pt idx="204">
                  <c:v>1707.0</c:v>
                </c:pt>
                <c:pt idx="205">
                  <c:v>1700.0</c:v>
                </c:pt>
                <c:pt idx="206">
                  <c:v>1698.0</c:v>
                </c:pt>
                <c:pt idx="207">
                  <c:v>1696.0</c:v>
                </c:pt>
                <c:pt idx="208">
                  <c:v>1694.0</c:v>
                </c:pt>
                <c:pt idx="209">
                  <c:v>1685.0</c:v>
                </c:pt>
                <c:pt idx="210">
                  <c:v>1682.0</c:v>
                </c:pt>
                <c:pt idx="211">
                  <c:v>1677.0</c:v>
                </c:pt>
                <c:pt idx="212">
                  <c:v>1673.0</c:v>
                </c:pt>
                <c:pt idx="213">
                  <c:v>1672.0</c:v>
                </c:pt>
                <c:pt idx="214">
                  <c:v>1666.0</c:v>
                </c:pt>
                <c:pt idx="215">
                  <c:v>1662.0</c:v>
                </c:pt>
                <c:pt idx="216">
                  <c:v>1661.0</c:v>
                </c:pt>
                <c:pt idx="217">
                  <c:v>1648.0</c:v>
                </c:pt>
                <c:pt idx="218">
                  <c:v>1640.0</c:v>
                </c:pt>
                <c:pt idx="219">
                  <c:v>1640.0</c:v>
                </c:pt>
                <c:pt idx="220">
                  <c:v>1638.0</c:v>
                </c:pt>
                <c:pt idx="221">
                  <c:v>1635.0</c:v>
                </c:pt>
                <c:pt idx="222">
                  <c:v>1624.0</c:v>
                </c:pt>
                <c:pt idx="223">
                  <c:v>1623.0</c:v>
                </c:pt>
                <c:pt idx="224">
                  <c:v>1619.0</c:v>
                </c:pt>
                <c:pt idx="225">
                  <c:v>1612.0</c:v>
                </c:pt>
                <c:pt idx="226">
                  <c:v>1608.0</c:v>
                </c:pt>
                <c:pt idx="227">
                  <c:v>1600.0</c:v>
                </c:pt>
                <c:pt idx="228">
                  <c:v>1596.0</c:v>
                </c:pt>
                <c:pt idx="229">
                  <c:v>1591.0</c:v>
                </c:pt>
                <c:pt idx="230">
                  <c:v>1589.0</c:v>
                </c:pt>
                <c:pt idx="231">
                  <c:v>1587.0</c:v>
                </c:pt>
                <c:pt idx="232">
                  <c:v>1585.0</c:v>
                </c:pt>
                <c:pt idx="233">
                  <c:v>1582.0</c:v>
                </c:pt>
                <c:pt idx="234">
                  <c:v>1580.0</c:v>
                </c:pt>
                <c:pt idx="235">
                  <c:v>1579.0</c:v>
                </c:pt>
                <c:pt idx="236">
                  <c:v>1560.0</c:v>
                </c:pt>
                <c:pt idx="237">
                  <c:v>1560.0</c:v>
                </c:pt>
                <c:pt idx="238">
                  <c:v>1554.0</c:v>
                </c:pt>
                <c:pt idx="239">
                  <c:v>1540.0</c:v>
                </c:pt>
                <c:pt idx="240">
                  <c:v>1537.0</c:v>
                </c:pt>
                <c:pt idx="241">
                  <c:v>1522.0</c:v>
                </c:pt>
                <c:pt idx="242">
                  <c:v>1518.0</c:v>
                </c:pt>
                <c:pt idx="243">
                  <c:v>1517.0</c:v>
                </c:pt>
                <c:pt idx="244">
                  <c:v>1508.0</c:v>
                </c:pt>
                <c:pt idx="245">
                  <c:v>1506.0</c:v>
                </c:pt>
                <c:pt idx="246">
                  <c:v>1501.0</c:v>
                </c:pt>
                <c:pt idx="247">
                  <c:v>1498.0</c:v>
                </c:pt>
                <c:pt idx="248">
                  <c:v>1487.0</c:v>
                </c:pt>
                <c:pt idx="249">
                  <c:v>1468.0</c:v>
                </c:pt>
                <c:pt idx="250">
                  <c:v>1452.0</c:v>
                </c:pt>
                <c:pt idx="251">
                  <c:v>1450.0</c:v>
                </c:pt>
                <c:pt idx="252">
                  <c:v>1433.0</c:v>
                </c:pt>
                <c:pt idx="253">
                  <c:v>1433.0</c:v>
                </c:pt>
                <c:pt idx="254">
                  <c:v>1429.0</c:v>
                </c:pt>
                <c:pt idx="255">
                  <c:v>1423.0</c:v>
                </c:pt>
                <c:pt idx="256">
                  <c:v>1422.0</c:v>
                </c:pt>
                <c:pt idx="257">
                  <c:v>1408.0</c:v>
                </c:pt>
                <c:pt idx="258">
                  <c:v>1406.0</c:v>
                </c:pt>
                <c:pt idx="259">
                  <c:v>1405.0</c:v>
                </c:pt>
                <c:pt idx="260">
                  <c:v>1403.0</c:v>
                </c:pt>
                <c:pt idx="261">
                  <c:v>1403.0</c:v>
                </c:pt>
                <c:pt idx="262">
                  <c:v>1394.0</c:v>
                </c:pt>
                <c:pt idx="263">
                  <c:v>1393.0</c:v>
                </c:pt>
                <c:pt idx="264">
                  <c:v>1392.0</c:v>
                </c:pt>
                <c:pt idx="265">
                  <c:v>1380.0</c:v>
                </c:pt>
                <c:pt idx="266">
                  <c:v>1378.0</c:v>
                </c:pt>
                <c:pt idx="267">
                  <c:v>1373.0</c:v>
                </c:pt>
                <c:pt idx="268">
                  <c:v>1370.0</c:v>
                </c:pt>
                <c:pt idx="269">
                  <c:v>1359.0</c:v>
                </c:pt>
                <c:pt idx="270">
                  <c:v>1354.0</c:v>
                </c:pt>
                <c:pt idx="271">
                  <c:v>1352.0</c:v>
                </c:pt>
                <c:pt idx="272">
                  <c:v>1347.0</c:v>
                </c:pt>
                <c:pt idx="273">
                  <c:v>1344.0</c:v>
                </c:pt>
                <c:pt idx="274">
                  <c:v>1343.0</c:v>
                </c:pt>
                <c:pt idx="275">
                  <c:v>1342.0</c:v>
                </c:pt>
                <c:pt idx="276">
                  <c:v>1342.0</c:v>
                </c:pt>
                <c:pt idx="277">
                  <c:v>1340.0</c:v>
                </c:pt>
                <c:pt idx="278">
                  <c:v>1339.0</c:v>
                </c:pt>
                <c:pt idx="279">
                  <c:v>1334.0</c:v>
                </c:pt>
                <c:pt idx="280">
                  <c:v>1332.0</c:v>
                </c:pt>
                <c:pt idx="281">
                  <c:v>1325.0</c:v>
                </c:pt>
                <c:pt idx="282">
                  <c:v>1323.0</c:v>
                </c:pt>
                <c:pt idx="283">
                  <c:v>1318.0</c:v>
                </c:pt>
                <c:pt idx="284">
                  <c:v>1315.0</c:v>
                </c:pt>
                <c:pt idx="285">
                  <c:v>1296.0</c:v>
                </c:pt>
                <c:pt idx="286">
                  <c:v>1291.0</c:v>
                </c:pt>
                <c:pt idx="287">
                  <c:v>1289.0</c:v>
                </c:pt>
                <c:pt idx="288">
                  <c:v>1289.0</c:v>
                </c:pt>
                <c:pt idx="289">
                  <c:v>1289.0</c:v>
                </c:pt>
                <c:pt idx="290">
                  <c:v>1287.0</c:v>
                </c:pt>
                <c:pt idx="291">
                  <c:v>1268.0</c:v>
                </c:pt>
                <c:pt idx="292">
                  <c:v>1266.0</c:v>
                </c:pt>
                <c:pt idx="293">
                  <c:v>1265.0</c:v>
                </c:pt>
                <c:pt idx="294">
                  <c:v>1264.0</c:v>
                </c:pt>
                <c:pt idx="295">
                  <c:v>1261.0</c:v>
                </c:pt>
                <c:pt idx="296">
                  <c:v>1249.0</c:v>
                </c:pt>
                <c:pt idx="297">
                  <c:v>1247.0</c:v>
                </c:pt>
                <c:pt idx="298">
                  <c:v>1235.0</c:v>
                </c:pt>
                <c:pt idx="299">
                  <c:v>1234.0</c:v>
                </c:pt>
                <c:pt idx="300">
                  <c:v>1233.0</c:v>
                </c:pt>
                <c:pt idx="301">
                  <c:v>1232.0</c:v>
                </c:pt>
                <c:pt idx="302">
                  <c:v>1230.0</c:v>
                </c:pt>
                <c:pt idx="303">
                  <c:v>1228.0</c:v>
                </c:pt>
                <c:pt idx="304">
                  <c:v>1228.0</c:v>
                </c:pt>
                <c:pt idx="305">
                  <c:v>1227.0</c:v>
                </c:pt>
                <c:pt idx="306">
                  <c:v>1226.0</c:v>
                </c:pt>
                <c:pt idx="307">
                  <c:v>1226.0</c:v>
                </c:pt>
                <c:pt idx="308">
                  <c:v>1223.0</c:v>
                </c:pt>
                <c:pt idx="309">
                  <c:v>1222.0</c:v>
                </c:pt>
                <c:pt idx="310">
                  <c:v>1220.0</c:v>
                </c:pt>
                <c:pt idx="311">
                  <c:v>1219.0</c:v>
                </c:pt>
                <c:pt idx="312">
                  <c:v>1218.0</c:v>
                </c:pt>
                <c:pt idx="313">
                  <c:v>1217.0</c:v>
                </c:pt>
                <c:pt idx="314">
                  <c:v>1214.0</c:v>
                </c:pt>
                <c:pt idx="315">
                  <c:v>1213.0</c:v>
                </c:pt>
                <c:pt idx="316">
                  <c:v>1211.0</c:v>
                </c:pt>
                <c:pt idx="317">
                  <c:v>1205.0</c:v>
                </c:pt>
                <c:pt idx="318">
                  <c:v>1196.0</c:v>
                </c:pt>
                <c:pt idx="319">
                  <c:v>1189.0</c:v>
                </c:pt>
                <c:pt idx="320">
                  <c:v>1188.0</c:v>
                </c:pt>
                <c:pt idx="321">
                  <c:v>1186.0</c:v>
                </c:pt>
                <c:pt idx="322">
                  <c:v>1184.0</c:v>
                </c:pt>
                <c:pt idx="323">
                  <c:v>1184.0</c:v>
                </c:pt>
                <c:pt idx="324">
                  <c:v>1182.0</c:v>
                </c:pt>
                <c:pt idx="325">
                  <c:v>1178.0</c:v>
                </c:pt>
                <c:pt idx="326">
                  <c:v>1171.0</c:v>
                </c:pt>
                <c:pt idx="327">
                  <c:v>1171.0</c:v>
                </c:pt>
                <c:pt idx="328">
                  <c:v>1171.0</c:v>
                </c:pt>
                <c:pt idx="329">
                  <c:v>1162.0</c:v>
                </c:pt>
                <c:pt idx="330">
                  <c:v>1160.0</c:v>
                </c:pt>
                <c:pt idx="331">
                  <c:v>1156.0</c:v>
                </c:pt>
                <c:pt idx="332">
                  <c:v>1148.0</c:v>
                </c:pt>
                <c:pt idx="333">
                  <c:v>1146.0</c:v>
                </c:pt>
                <c:pt idx="334">
                  <c:v>1140.0</c:v>
                </c:pt>
                <c:pt idx="335">
                  <c:v>1139.0</c:v>
                </c:pt>
                <c:pt idx="336">
                  <c:v>1136.0</c:v>
                </c:pt>
                <c:pt idx="337">
                  <c:v>1133.0</c:v>
                </c:pt>
                <c:pt idx="338">
                  <c:v>1130.0</c:v>
                </c:pt>
                <c:pt idx="339">
                  <c:v>1128.0</c:v>
                </c:pt>
                <c:pt idx="340">
                  <c:v>1127.0</c:v>
                </c:pt>
                <c:pt idx="341">
                  <c:v>1126.0</c:v>
                </c:pt>
                <c:pt idx="342">
                  <c:v>1116.0</c:v>
                </c:pt>
                <c:pt idx="343">
                  <c:v>1116.0</c:v>
                </c:pt>
                <c:pt idx="344">
                  <c:v>1115.0</c:v>
                </c:pt>
                <c:pt idx="345">
                  <c:v>1115.0</c:v>
                </c:pt>
                <c:pt idx="346">
                  <c:v>1115.0</c:v>
                </c:pt>
                <c:pt idx="347">
                  <c:v>1107.0</c:v>
                </c:pt>
                <c:pt idx="348">
                  <c:v>1104.0</c:v>
                </c:pt>
                <c:pt idx="349">
                  <c:v>1102.0</c:v>
                </c:pt>
                <c:pt idx="350">
                  <c:v>1100.0</c:v>
                </c:pt>
                <c:pt idx="351">
                  <c:v>1095.0</c:v>
                </c:pt>
                <c:pt idx="352">
                  <c:v>1095.0</c:v>
                </c:pt>
                <c:pt idx="353">
                  <c:v>1093.0</c:v>
                </c:pt>
                <c:pt idx="354">
                  <c:v>1093.0</c:v>
                </c:pt>
                <c:pt idx="355">
                  <c:v>1093.0</c:v>
                </c:pt>
                <c:pt idx="356">
                  <c:v>1089.0</c:v>
                </c:pt>
                <c:pt idx="357">
                  <c:v>1088.0</c:v>
                </c:pt>
                <c:pt idx="358">
                  <c:v>1079.0</c:v>
                </c:pt>
                <c:pt idx="359">
                  <c:v>1069.0</c:v>
                </c:pt>
                <c:pt idx="360">
                  <c:v>1060.0</c:v>
                </c:pt>
                <c:pt idx="361">
                  <c:v>1059.0</c:v>
                </c:pt>
                <c:pt idx="362">
                  <c:v>1059.0</c:v>
                </c:pt>
                <c:pt idx="363">
                  <c:v>1053.0</c:v>
                </c:pt>
                <c:pt idx="364">
                  <c:v>1052.0</c:v>
                </c:pt>
                <c:pt idx="365">
                  <c:v>1051.0</c:v>
                </c:pt>
                <c:pt idx="366">
                  <c:v>1048.0</c:v>
                </c:pt>
                <c:pt idx="367">
                  <c:v>1047.0</c:v>
                </c:pt>
                <c:pt idx="368">
                  <c:v>1047.0</c:v>
                </c:pt>
                <c:pt idx="369">
                  <c:v>1046.0</c:v>
                </c:pt>
                <c:pt idx="370">
                  <c:v>1046.0</c:v>
                </c:pt>
                <c:pt idx="371">
                  <c:v>1045.0</c:v>
                </c:pt>
                <c:pt idx="372">
                  <c:v>1044.0</c:v>
                </c:pt>
                <c:pt idx="373">
                  <c:v>1043.0</c:v>
                </c:pt>
                <c:pt idx="374">
                  <c:v>1030.0</c:v>
                </c:pt>
                <c:pt idx="375">
                  <c:v>1027.0</c:v>
                </c:pt>
                <c:pt idx="376">
                  <c:v>1027.0</c:v>
                </c:pt>
                <c:pt idx="377">
                  <c:v>1027.0</c:v>
                </c:pt>
                <c:pt idx="378">
                  <c:v>1023.0</c:v>
                </c:pt>
                <c:pt idx="379">
                  <c:v>1021.0</c:v>
                </c:pt>
                <c:pt idx="380">
                  <c:v>1019.0</c:v>
                </c:pt>
                <c:pt idx="381">
                  <c:v>1019.0</c:v>
                </c:pt>
                <c:pt idx="382">
                  <c:v>1017.0</c:v>
                </c:pt>
                <c:pt idx="383">
                  <c:v>1008.0</c:v>
                </c:pt>
                <c:pt idx="384">
                  <c:v>1004.0</c:v>
                </c:pt>
                <c:pt idx="385">
                  <c:v>1003.0</c:v>
                </c:pt>
                <c:pt idx="386">
                  <c:v>998.0</c:v>
                </c:pt>
                <c:pt idx="387">
                  <c:v>998.0</c:v>
                </c:pt>
                <c:pt idx="388">
                  <c:v>995.0</c:v>
                </c:pt>
                <c:pt idx="389">
                  <c:v>993.0</c:v>
                </c:pt>
                <c:pt idx="390">
                  <c:v>993.0</c:v>
                </c:pt>
                <c:pt idx="391">
                  <c:v>991.0</c:v>
                </c:pt>
                <c:pt idx="392">
                  <c:v>991.0</c:v>
                </c:pt>
                <c:pt idx="393">
                  <c:v>986.0</c:v>
                </c:pt>
                <c:pt idx="394">
                  <c:v>985.0</c:v>
                </c:pt>
                <c:pt idx="395">
                  <c:v>983.0</c:v>
                </c:pt>
                <c:pt idx="396">
                  <c:v>982.0</c:v>
                </c:pt>
                <c:pt idx="397">
                  <c:v>979.0</c:v>
                </c:pt>
                <c:pt idx="398">
                  <c:v>977.0</c:v>
                </c:pt>
                <c:pt idx="399">
                  <c:v>977.0</c:v>
                </c:pt>
                <c:pt idx="400">
                  <c:v>975.0</c:v>
                </c:pt>
                <c:pt idx="401">
                  <c:v>972.0</c:v>
                </c:pt>
                <c:pt idx="402">
                  <c:v>971.0</c:v>
                </c:pt>
                <c:pt idx="403">
                  <c:v>969.0</c:v>
                </c:pt>
                <c:pt idx="404">
                  <c:v>966.0</c:v>
                </c:pt>
                <c:pt idx="405">
                  <c:v>964.0</c:v>
                </c:pt>
                <c:pt idx="406">
                  <c:v>963.0</c:v>
                </c:pt>
                <c:pt idx="407">
                  <c:v>963.0</c:v>
                </c:pt>
                <c:pt idx="408">
                  <c:v>962.0</c:v>
                </c:pt>
                <c:pt idx="409">
                  <c:v>961.0</c:v>
                </c:pt>
                <c:pt idx="410">
                  <c:v>961.0</c:v>
                </c:pt>
                <c:pt idx="411">
                  <c:v>960.0</c:v>
                </c:pt>
                <c:pt idx="412">
                  <c:v>958.0</c:v>
                </c:pt>
                <c:pt idx="413">
                  <c:v>956.0</c:v>
                </c:pt>
                <c:pt idx="414">
                  <c:v>955.0</c:v>
                </c:pt>
                <c:pt idx="415">
                  <c:v>954.0</c:v>
                </c:pt>
                <c:pt idx="416">
                  <c:v>950.0</c:v>
                </c:pt>
                <c:pt idx="417">
                  <c:v>947.0</c:v>
                </c:pt>
                <c:pt idx="418">
                  <c:v>945.0</c:v>
                </c:pt>
                <c:pt idx="419">
                  <c:v>939.0</c:v>
                </c:pt>
                <c:pt idx="420">
                  <c:v>938.0</c:v>
                </c:pt>
                <c:pt idx="421">
                  <c:v>937.0</c:v>
                </c:pt>
                <c:pt idx="422">
                  <c:v>936.0</c:v>
                </c:pt>
                <c:pt idx="423">
                  <c:v>927.0</c:v>
                </c:pt>
                <c:pt idx="424">
                  <c:v>926.0</c:v>
                </c:pt>
                <c:pt idx="425">
                  <c:v>923.0</c:v>
                </c:pt>
                <c:pt idx="426">
                  <c:v>923.0</c:v>
                </c:pt>
                <c:pt idx="427">
                  <c:v>922.0</c:v>
                </c:pt>
                <c:pt idx="428">
                  <c:v>921.0</c:v>
                </c:pt>
                <c:pt idx="429">
                  <c:v>915.0</c:v>
                </c:pt>
                <c:pt idx="430">
                  <c:v>913.0</c:v>
                </c:pt>
                <c:pt idx="431">
                  <c:v>913.0</c:v>
                </c:pt>
                <c:pt idx="432">
                  <c:v>912.0</c:v>
                </c:pt>
                <c:pt idx="433">
                  <c:v>908.0</c:v>
                </c:pt>
                <c:pt idx="434">
                  <c:v>907.0</c:v>
                </c:pt>
                <c:pt idx="435">
                  <c:v>907.0</c:v>
                </c:pt>
                <c:pt idx="436">
                  <c:v>904.0</c:v>
                </c:pt>
                <c:pt idx="437">
                  <c:v>903.0</c:v>
                </c:pt>
                <c:pt idx="438">
                  <c:v>903.0</c:v>
                </c:pt>
                <c:pt idx="439">
                  <c:v>901.0</c:v>
                </c:pt>
                <c:pt idx="440">
                  <c:v>899.0</c:v>
                </c:pt>
                <c:pt idx="441">
                  <c:v>899.0</c:v>
                </c:pt>
                <c:pt idx="442">
                  <c:v>896.0</c:v>
                </c:pt>
                <c:pt idx="443">
                  <c:v>891.0</c:v>
                </c:pt>
                <c:pt idx="444">
                  <c:v>888.0</c:v>
                </c:pt>
                <c:pt idx="445">
                  <c:v>884.0</c:v>
                </c:pt>
                <c:pt idx="446">
                  <c:v>882.0</c:v>
                </c:pt>
                <c:pt idx="447">
                  <c:v>882.0</c:v>
                </c:pt>
                <c:pt idx="448">
                  <c:v>879.0</c:v>
                </c:pt>
                <c:pt idx="449">
                  <c:v>877.0</c:v>
                </c:pt>
                <c:pt idx="450">
                  <c:v>876.0</c:v>
                </c:pt>
                <c:pt idx="451">
                  <c:v>874.0</c:v>
                </c:pt>
                <c:pt idx="452">
                  <c:v>873.0</c:v>
                </c:pt>
                <c:pt idx="453">
                  <c:v>873.0</c:v>
                </c:pt>
                <c:pt idx="454">
                  <c:v>873.0</c:v>
                </c:pt>
                <c:pt idx="455">
                  <c:v>871.0</c:v>
                </c:pt>
                <c:pt idx="456">
                  <c:v>870.0</c:v>
                </c:pt>
                <c:pt idx="457">
                  <c:v>869.0</c:v>
                </c:pt>
                <c:pt idx="458">
                  <c:v>866.0</c:v>
                </c:pt>
                <c:pt idx="459">
                  <c:v>860.0</c:v>
                </c:pt>
                <c:pt idx="460">
                  <c:v>859.0</c:v>
                </c:pt>
                <c:pt idx="461">
                  <c:v>857.0</c:v>
                </c:pt>
                <c:pt idx="462">
                  <c:v>857.0</c:v>
                </c:pt>
                <c:pt idx="463">
                  <c:v>857.0</c:v>
                </c:pt>
                <c:pt idx="464">
                  <c:v>855.0</c:v>
                </c:pt>
                <c:pt idx="465">
                  <c:v>854.0</c:v>
                </c:pt>
                <c:pt idx="466">
                  <c:v>854.0</c:v>
                </c:pt>
                <c:pt idx="467">
                  <c:v>854.0</c:v>
                </c:pt>
                <c:pt idx="468">
                  <c:v>854.0</c:v>
                </c:pt>
                <c:pt idx="469">
                  <c:v>848.0</c:v>
                </c:pt>
                <c:pt idx="470">
                  <c:v>842.0</c:v>
                </c:pt>
                <c:pt idx="471">
                  <c:v>839.0</c:v>
                </c:pt>
                <c:pt idx="472">
                  <c:v>834.0</c:v>
                </c:pt>
                <c:pt idx="473">
                  <c:v>833.0</c:v>
                </c:pt>
                <c:pt idx="474">
                  <c:v>832.0</c:v>
                </c:pt>
                <c:pt idx="475">
                  <c:v>831.0</c:v>
                </c:pt>
                <c:pt idx="476">
                  <c:v>831.0</c:v>
                </c:pt>
                <c:pt idx="477">
                  <c:v>830.0</c:v>
                </c:pt>
                <c:pt idx="478">
                  <c:v>830.0</c:v>
                </c:pt>
                <c:pt idx="479">
                  <c:v>827.0</c:v>
                </c:pt>
                <c:pt idx="480">
                  <c:v>822.0</c:v>
                </c:pt>
                <c:pt idx="481">
                  <c:v>819.0</c:v>
                </c:pt>
                <c:pt idx="482">
                  <c:v>819.0</c:v>
                </c:pt>
                <c:pt idx="483">
                  <c:v>817.0</c:v>
                </c:pt>
                <c:pt idx="484">
                  <c:v>815.0</c:v>
                </c:pt>
                <c:pt idx="485">
                  <c:v>814.0</c:v>
                </c:pt>
                <c:pt idx="486">
                  <c:v>814.0</c:v>
                </c:pt>
                <c:pt idx="487">
                  <c:v>814.0</c:v>
                </c:pt>
                <c:pt idx="488">
                  <c:v>813.0</c:v>
                </c:pt>
                <c:pt idx="489">
                  <c:v>812.0</c:v>
                </c:pt>
                <c:pt idx="490">
                  <c:v>809.0</c:v>
                </c:pt>
                <c:pt idx="491">
                  <c:v>808.0</c:v>
                </c:pt>
                <c:pt idx="492">
                  <c:v>807.0</c:v>
                </c:pt>
                <c:pt idx="493">
                  <c:v>798.0</c:v>
                </c:pt>
                <c:pt idx="494">
                  <c:v>797.0</c:v>
                </c:pt>
                <c:pt idx="495">
                  <c:v>794.0</c:v>
                </c:pt>
                <c:pt idx="496">
                  <c:v>792.0</c:v>
                </c:pt>
                <c:pt idx="497">
                  <c:v>791.0</c:v>
                </c:pt>
                <c:pt idx="498">
                  <c:v>791.0</c:v>
                </c:pt>
                <c:pt idx="499">
                  <c:v>790.0</c:v>
                </c:pt>
                <c:pt idx="500">
                  <c:v>788.0</c:v>
                </c:pt>
                <c:pt idx="501">
                  <c:v>785.0</c:v>
                </c:pt>
                <c:pt idx="502">
                  <c:v>783.0</c:v>
                </c:pt>
                <c:pt idx="503">
                  <c:v>783.0</c:v>
                </c:pt>
                <c:pt idx="504">
                  <c:v>783.0</c:v>
                </c:pt>
                <c:pt idx="505">
                  <c:v>781.0</c:v>
                </c:pt>
                <c:pt idx="506">
                  <c:v>779.0</c:v>
                </c:pt>
                <c:pt idx="507">
                  <c:v>777.0</c:v>
                </c:pt>
                <c:pt idx="508">
                  <c:v>774.0</c:v>
                </c:pt>
                <c:pt idx="509">
                  <c:v>772.0</c:v>
                </c:pt>
                <c:pt idx="510">
                  <c:v>770.0</c:v>
                </c:pt>
                <c:pt idx="511">
                  <c:v>769.0</c:v>
                </c:pt>
                <c:pt idx="512">
                  <c:v>768.0</c:v>
                </c:pt>
                <c:pt idx="513">
                  <c:v>767.0</c:v>
                </c:pt>
                <c:pt idx="514">
                  <c:v>767.0</c:v>
                </c:pt>
                <c:pt idx="515">
                  <c:v>767.0</c:v>
                </c:pt>
                <c:pt idx="516">
                  <c:v>766.0</c:v>
                </c:pt>
                <c:pt idx="517">
                  <c:v>765.0</c:v>
                </c:pt>
                <c:pt idx="518">
                  <c:v>765.0</c:v>
                </c:pt>
                <c:pt idx="519">
                  <c:v>764.0</c:v>
                </c:pt>
                <c:pt idx="520">
                  <c:v>763.0</c:v>
                </c:pt>
                <c:pt idx="521">
                  <c:v>757.0</c:v>
                </c:pt>
                <c:pt idx="522">
                  <c:v>756.0</c:v>
                </c:pt>
                <c:pt idx="523">
                  <c:v>755.0</c:v>
                </c:pt>
                <c:pt idx="524">
                  <c:v>755.0</c:v>
                </c:pt>
                <c:pt idx="525">
                  <c:v>754.0</c:v>
                </c:pt>
                <c:pt idx="526">
                  <c:v>753.0</c:v>
                </c:pt>
                <c:pt idx="527">
                  <c:v>748.0</c:v>
                </c:pt>
                <c:pt idx="528">
                  <c:v>745.0</c:v>
                </c:pt>
                <c:pt idx="529">
                  <c:v>742.0</c:v>
                </c:pt>
                <c:pt idx="530">
                  <c:v>736.0</c:v>
                </c:pt>
                <c:pt idx="531">
                  <c:v>734.0</c:v>
                </c:pt>
                <c:pt idx="532">
                  <c:v>733.0</c:v>
                </c:pt>
                <c:pt idx="533">
                  <c:v>732.0</c:v>
                </c:pt>
                <c:pt idx="534">
                  <c:v>729.0</c:v>
                </c:pt>
                <c:pt idx="535">
                  <c:v>728.0</c:v>
                </c:pt>
                <c:pt idx="536">
                  <c:v>728.0</c:v>
                </c:pt>
                <c:pt idx="537">
                  <c:v>727.0</c:v>
                </c:pt>
                <c:pt idx="538">
                  <c:v>725.0</c:v>
                </c:pt>
                <c:pt idx="539">
                  <c:v>722.0</c:v>
                </c:pt>
                <c:pt idx="540">
                  <c:v>714.0</c:v>
                </c:pt>
                <c:pt idx="541">
                  <c:v>714.0</c:v>
                </c:pt>
                <c:pt idx="542">
                  <c:v>713.0</c:v>
                </c:pt>
                <c:pt idx="543">
                  <c:v>712.0</c:v>
                </c:pt>
                <c:pt idx="544">
                  <c:v>711.0</c:v>
                </c:pt>
                <c:pt idx="545">
                  <c:v>711.0</c:v>
                </c:pt>
                <c:pt idx="546">
                  <c:v>711.0</c:v>
                </c:pt>
                <c:pt idx="547">
                  <c:v>708.0</c:v>
                </c:pt>
                <c:pt idx="548">
                  <c:v>708.0</c:v>
                </c:pt>
                <c:pt idx="549">
                  <c:v>702.0</c:v>
                </c:pt>
                <c:pt idx="550">
                  <c:v>701.0</c:v>
                </c:pt>
                <c:pt idx="551">
                  <c:v>701.0</c:v>
                </c:pt>
                <c:pt idx="552">
                  <c:v>701.0</c:v>
                </c:pt>
                <c:pt idx="553">
                  <c:v>697.0</c:v>
                </c:pt>
                <c:pt idx="554">
                  <c:v>696.0</c:v>
                </c:pt>
                <c:pt idx="555">
                  <c:v>696.0</c:v>
                </c:pt>
                <c:pt idx="556">
                  <c:v>695.0</c:v>
                </c:pt>
                <c:pt idx="557">
                  <c:v>695.0</c:v>
                </c:pt>
                <c:pt idx="558">
                  <c:v>694.0</c:v>
                </c:pt>
                <c:pt idx="559">
                  <c:v>693.0</c:v>
                </c:pt>
                <c:pt idx="560">
                  <c:v>692.0</c:v>
                </c:pt>
                <c:pt idx="561">
                  <c:v>690.0</c:v>
                </c:pt>
                <c:pt idx="562">
                  <c:v>688.0</c:v>
                </c:pt>
                <c:pt idx="563">
                  <c:v>687.0</c:v>
                </c:pt>
                <c:pt idx="564">
                  <c:v>680.0</c:v>
                </c:pt>
                <c:pt idx="565">
                  <c:v>680.0</c:v>
                </c:pt>
                <c:pt idx="566">
                  <c:v>679.0</c:v>
                </c:pt>
                <c:pt idx="567">
                  <c:v>677.0</c:v>
                </c:pt>
                <c:pt idx="568">
                  <c:v>676.0</c:v>
                </c:pt>
                <c:pt idx="569">
                  <c:v>676.0</c:v>
                </c:pt>
                <c:pt idx="570">
                  <c:v>675.0</c:v>
                </c:pt>
                <c:pt idx="571">
                  <c:v>673.0</c:v>
                </c:pt>
                <c:pt idx="572">
                  <c:v>671.0</c:v>
                </c:pt>
                <c:pt idx="573">
                  <c:v>669.0</c:v>
                </c:pt>
                <c:pt idx="574">
                  <c:v>666.0</c:v>
                </c:pt>
                <c:pt idx="575">
                  <c:v>665.0</c:v>
                </c:pt>
                <c:pt idx="576">
                  <c:v>665.0</c:v>
                </c:pt>
                <c:pt idx="577">
                  <c:v>663.0</c:v>
                </c:pt>
                <c:pt idx="578">
                  <c:v>658.0</c:v>
                </c:pt>
                <c:pt idx="579">
                  <c:v>655.0</c:v>
                </c:pt>
                <c:pt idx="580">
                  <c:v>651.0</c:v>
                </c:pt>
                <c:pt idx="581">
                  <c:v>651.0</c:v>
                </c:pt>
                <c:pt idx="582">
                  <c:v>647.0</c:v>
                </c:pt>
                <c:pt idx="583">
                  <c:v>646.0</c:v>
                </c:pt>
                <c:pt idx="584">
                  <c:v>645.0</c:v>
                </c:pt>
                <c:pt idx="585">
                  <c:v>642.0</c:v>
                </c:pt>
                <c:pt idx="586">
                  <c:v>642.0</c:v>
                </c:pt>
                <c:pt idx="587">
                  <c:v>640.0</c:v>
                </c:pt>
                <c:pt idx="588">
                  <c:v>639.0</c:v>
                </c:pt>
                <c:pt idx="589">
                  <c:v>637.0</c:v>
                </c:pt>
                <c:pt idx="590">
                  <c:v>635.0</c:v>
                </c:pt>
                <c:pt idx="591">
                  <c:v>635.0</c:v>
                </c:pt>
                <c:pt idx="592">
                  <c:v>633.0</c:v>
                </c:pt>
                <c:pt idx="593">
                  <c:v>628.0</c:v>
                </c:pt>
                <c:pt idx="594">
                  <c:v>626.0</c:v>
                </c:pt>
                <c:pt idx="595">
                  <c:v>624.0</c:v>
                </c:pt>
                <c:pt idx="596">
                  <c:v>622.0</c:v>
                </c:pt>
                <c:pt idx="597">
                  <c:v>618.0</c:v>
                </c:pt>
                <c:pt idx="598">
                  <c:v>617.0</c:v>
                </c:pt>
                <c:pt idx="599">
                  <c:v>617.0</c:v>
                </c:pt>
                <c:pt idx="600">
                  <c:v>617.0</c:v>
                </c:pt>
                <c:pt idx="601">
                  <c:v>616.0</c:v>
                </c:pt>
                <c:pt idx="602">
                  <c:v>614.0</c:v>
                </c:pt>
                <c:pt idx="603">
                  <c:v>614.0</c:v>
                </c:pt>
                <c:pt idx="604">
                  <c:v>612.0</c:v>
                </c:pt>
                <c:pt idx="605">
                  <c:v>611.0</c:v>
                </c:pt>
                <c:pt idx="606">
                  <c:v>611.0</c:v>
                </c:pt>
                <c:pt idx="607">
                  <c:v>610.0</c:v>
                </c:pt>
                <c:pt idx="608">
                  <c:v>610.0</c:v>
                </c:pt>
                <c:pt idx="609">
                  <c:v>609.0</c:v>
                </c:pt>
                <c:pt idx="610">
                  <c:v>608.0</c:v>
                </c:pt>
                <c:pt idx="611">
                  <c:v>608.0</c:v>
                </c:pt>
                <c:pt idx="612">
                  <c:v>606.0</c:v>
                </c:pt>
                <c:pt idx="613">
                  <c:v>606.0</c:v>
                </c:pt>
                <c:pt idx="614">
                  <c:v>605.0</c:v>
                </c:pt>
                <c:pt idx="615">
                  <c:v>602.0</c:v>
                </c:pt>
                <c:pt idx="616">
                  <c:v>599.0</c:v>
                </c:pt>
                <c:pt idx="617">
                  <c:v>598.0</c:v>
                </c:pt>
                <c:pt idx="618">
                  <c:v>598.0</c:v>
                </c:pt>
                <c:pt idx="619">
                  <c:v>597.0</c:v>
                </c:pt>
                <c:pt idx="620">
                  <c:v>589.0</c:v>
                </c:pt>
                <c:pt idx="621">
                  <c:v>589.0</c:v>
                </c:pt>
                <c:pt idx="622">
                  <c:v>588.0</c:v>
                </c:pt>
                <c:pt idx="623">
                  <c:v>588.0</c:v>
                </c:pt>
                <c:pt idx="624">
                  <c:v>588.0</c:v>
                </c:pt>
                <c:pt idx="625">
                  <c:v>587.0</c:v>
                </c:pt>
                <c:pt idx="626">
                  <c:v>586.0</c:v>
                </c:pt>
                <c:pt idx="627">
                  <c:v>583.0</c:v>
                </c:pt>
                <c:pt idx="628">
                  <c:v>583.0</c:v>
                </c:pt>
                <c:pt idx="629">
                  <c:v>582.0</c:v>
                </c:pt>
                <c:pt idx="630">
                  <c:v>582.0</c:v>
                </c:pt>
                <c:pt idx="631">
                  <c:v>581.0</c:v>
                </c:pt>
                <c:pt idx="632">
                  <c:v>581.0</c:v>
                </c:pt>
                <c:pt idx="633">
                  <c:v>579.0</c:v>
                </c:pt>
                <c:pt idx="634">
                  <c:v>576.0</c:v>
                </c:pt>
                <c:pt idx="635">
                  <c:v>576.0</c:v>
                </c:pt>
                <c:pt idx="636">
                  <c:v>575.0</c:v>
                </c:pt>
                <c:pt idx="637">
                  <c:v>574.0</c:v>
                </c:pt>
                <c:pt idx="638">
                  <c:v>572.0</c:v>
                </c:pt>
                <c:pt idx="639">
                  <c:v>569.0</c:v>
                </c:pt>
                <c:pt idx="640">
                  <c:v>569.0</c:v>
                </c:pt>
                <c:pt idx="641">
                  <c:v>567.0</c:v>
                </c:pt>
                <c:pt idx="642">
                  <c:v>562.0</c:v>
                </c:pt>
                <c:pt idx="643">
                  <c:v>560.0</c:v>
                </c:pt>
                <c:pt idx="644">
                  <c:v>560.0</c:v>
                </c:pt>
                <c:pt idx="645">
                  <c:v>558.0</c:v>
                </c:pt>
                <c:pt idx="646">
                  <c:v>558.0</c:v>
                </c:pt>
                <c:pt idx="647">
                  <c:v>558.0</c:v>
                </c:pt>
                <c:pt idx="648">
                  <c:v>557.0</c:v>
                </c:pt>
                <c:pt idx="649">
                  <c:v>553.0</c:v>
                </c:pt>
                <c:pt idx="650">
                  <c:v>552.0</c:v>
                </c:pt>
                <c:pt idx="651">
                  <c:v>552.0</c:v>
                </c:pt>
                <c:pt idx="652">
                  <c:v>548.0</c:v>
                </c:pt>
                <c:pt idx="653">
                  <c:v>548.0</c:v>
                </c:pt>
                <c:pt idx="654">
                  <c:v>547.0</c:v>
                </c:pt>
                <c:pt idx="655">
                  <c:v>545.0</c:v>
                </c:pt>
                <c:pt idx="656">
                  <c:v>544.0</c:v>
                </c:pt>
                <c:pt idx="657">
                  <c:v>544.0</c:v>
                </c:pt>
                <c:pt idx="658">
                  <c:v>544.0</c:v>
                </c:pt>
                <c:pt idx="659">
                  <c:v>543.0</c:v>
                </c:pt>
                <c:pt idx="660">
                  <c:v>543.0</c:v>
                </c:pt>
                <c:pt idx="661">
                  <c:v>540.0</c:v>
                </c:pt>
                <c:pt idx="662">
                  <c:v>538.0</c:v>
                </c:pt>
                <c:pt idx="663">
                  <c:v>535.0</c:v>
                </c:pt>
                <c:pt idx="664">
                  <c:v>535.0</c:v>
                </c:pt>
                <c:pt idx="665">
                  <c:v>535.0</c:v>
                </c:pt>
                <c:pt idx="666">
                  <c:v>532.0</c:v>
                </c:pt>
                <c:pt idx="667">
                  <c:v>531.0</c:v>
                </c:pt>
                <c:pt idx="668">
                  <c:v>530.0</c:v>
                </c:pt>
                <c:pt idx="669">
                  <c:v>530.0</c:v>
                </c:pt>
                <c:pt idx="670">
                  <c:v>530.0</c:v>
                </c:pt>
                <c:pt idx="671">
                  <c:v>529.0</c:v>
                </c:pt>
                <c:pt idx="672">
                  <c:v>529.0</c:v>
                </c:pt>
                <c:pt idx="673">
                  <c:v>525.0</c:v>
                </c:pt>
                <c:pt idx="674">
                  <c:v>524.0</c:v>
                </c:pt>
                <c:pt idx="675">
                  <c:v>524.0</c:v>
                </c:pt>
                <c:pt idx="676">
                  <c:v>522.0</c:v>
                </c:pt>
                <c:pt idx="677">
                  <c:v>521.0</c:v>
                </c:pt>
                <c:pt idx="678">
                  <c:v>520.0</c:v>
                </c:pt>
                <c:pt idx="679">
                  <c:v>520.0</c:v>
                </c:pt>
                <c:pt idx="680">
                  <c:v>519.0</c:v>
                </c:pt>
                <c:pt idx="681">
                  <c:v>517.0</c:v>
                </c:pt>
                <c:pt idx="682">
                  <c:v>516.0</c:v>
                </c:pt>
                <c:pt idx="683">
                  <c:v>515.0</c:v>
                </c:pt>
                <c:pt idx="684">
                  <c:v>514.0</c:v>
                </c:pt>
                <c:pt idx="685">
                  <c:v>513.0</c:v>
                </c:pt>
                <c:pt idx="686">
                  <c:v>513.0</c:v>
                </c:pt>
                <c:pt idx="687">
                  <c:v>512.0</c:v>
                </c:pt>
                <c:pt idx="688">
                  <c:v>511.0</c:v>
                </c:pt>
                <c:pt idx="689">
                  <c:v>511.0</c:v>
                </c:pt>
                <c:pt idx="690">
                  <c:v>509.0</c:v>
                </c:pt>
                <c:pt idx="691">
                  <c:v>508.0</c:v>
                </c:pt>
                <c:pt idx="692">
                  <c:v>504.0</c:v>
                </c:pt>
                <c:pt idx="693">
                  <c:v>502.0</c:v>
                </c:pt>
                <c:pt idx="694">
                  <c:v>499.0</c:v>
                </c:pt>
                <c:pt idx="695">
                  <c:v>497.0</c:v>
                </c:pt>
                <c:pt idx="696">
                  <c:v>494.0</c:v>
                </c:pt>
                <c:pt idx="697">
                  <c:v>494.0</c:v>
                </c:pt>
                <c:pt idx="698">
                  <c:v>494.0</c:v>
                </c:pt>
                <c:pt idx="699">
                  <c:v>494.0</c:v>
                </c:pt>
                <c:pt idx="700">
                  <c:v>491.0</c:v>
                </c:pt>
                <c:pt idx="701">
                  <c:v>490.0</c:v>
                </c:pt>
                <c:pt idx="702">
                  <c:v>488.0</c:v>
                </c:pt>
                <c:pt idx="703">
                  <c:v>484.0</c:v>
                </c:pt>
                <c:pt idx="704">
                  <c:v>483.0</c:v>
                </c:pt>
                <c:pt idx="705">
                  <c:v>481.0</c:v>
                </c:pt>
                <c:pt idx="706">
                  <c:v>476.0</c:v>
                </c:pt>
                <c:pt idx="707">
                  <c:v>475.0</c:v>
                </c:pt>
                <c:pt idx="708">
                  <c:v>474.0</c:v>
                </c:pt>
                <c:pt idx="709">
                  <c:v>470.0</c:v>
                </c:pt>
                <c:pt idx="710">
                  <c:v>470.0</c:v>
                </c:pt>
                <c:pt idx="711">
                  <c:v>470.0</c:v>
                </c:pt>
                <c:pt idx="712">
                  <c:v>466.0</c:v>
                </c:pt>
                <c:pt idx="713">
                  <c:v>465.0</c:v>
                </c:pt>
                <c:pt idx="714">
                  <c:v>463.0</c:v>
                </c:pt>
                <c:pt idx="715">
                  <c:v>462.0</c:v>
                </c:pt>
                <c:pt idx="716">
                  <c:v>461.0</c:v>
                </c:pt>
                <c:pt idx="717">
                  <c:v>454.0</c:v>
                </c:pt>
                <c:pt idx="718">
                  <c:v>445.0</c:v>
                </c:pt>
                <c:pt idx="719">
                  <c:v>439.0</c:v>
                </c:pt>
                <c:pt idx="720">
                  <c:v>433.0</c:v>
                </c:pt>
                <c:pt idx="721">
                  <c:v>429.0</c:v>
                </c:pt>
                <c:pt idx="722">
                  <c:v>427.0</c:v>
                </c:pt>
                <c:pt idx="723">
                  <c:v>418.0</c:v>
                </c:pt>
                <c:pt idx="724">
                  <c:v>418.0</c:v>
                </c:pt>
                <c:pt idx="725">
                  <c:v>401.0</c:v>
                </c:pt>
                <c:pt idx="726">
                  <c:v>392.0</c:v>
                </c:pt>
                <c:pt idx="727">
                  <c:v>384.0</c:v>
                </c:pt>
                <c:pt idx="728">
                  <c:v>293.0</c:v>
                </c:pt>
                <c:pt idx="729">
                  <c:v>211.0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-2115720072"/>
        <c:axId val="-2115723560"/>
      </c:bubbleChart>
      <c:valAx>
        <c:axId val="-2115720072"/>
        <c:scaling>
          <c:orientation val="minMax"/>
          <c:max val="25.0"/>
          <c:min val="0.0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</a:p>
        </c:txPr>
        <c:crossAx val="-2115723560"/>
        <c:crosses val="autoZero"/>
        <c:crossBetween val="midCat"/>
      </c:valAx>
      <c:valAx>
        <c:axId val="-2115723560"/>
        <c:scaling>
          <c:orientation val="minMax"/>
          <c:max val="12.0"/>
          <c:min val="0.0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</a:p>
        </c:txPr>
        <c:crossAx val="-211572007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8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Relationship Id="rId3" Type="http://schemas.openxmlformats.org/officeDocument/2006/relationships/image" Target="../media/image4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_v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0.xml.rels><?xml version='1.0' encoding='UTF-8' standalone='yes'?>
<Relationships xmlns="http://schemas.openxmlformats.org/package/2006/relationships"><Relationship Id="rId1" Type="http://schemas.openxmlformats.org/officeDocument/2006/relationships/tags" Target="../tags/tag299.xml"/><Relationship Id="rId2" Type="http://schemas.openxmlformats.org/officeDocument/2006/relationships/tags" Target="../tags/tag300.xml"/><Relationship Id="rId3" Type="http://schemas.openxmlformats.org/officeDocument/2006/relationships/tags" Target="../tags/tag3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1.xml.rels><?xml version='1.0' encoding='UTF-8' standalone='yes'?>
<Relationships xmlns="http://schemas.openxmlformats.org/package/2006/relationships"><Relationship Id="rId1" Type="http://schemas.openxmlformats.org/officeDocument/2006/relationships/tags" Target="../tags/tag302.xml"/><Relationship Id="rId2" Type="http://schemas.openxmlformats.org/officeDocument/2006/relationships/tags" Target="../tags/tag303.xml"/><Relationship Id="rId3" Type="http://schemas.openxmlformats.org/officeDocument/2006/relationships/tags" Target="../tags/tag3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2.xml.rels><?xml version='1.0' encoding='UTF-8' standalone='yes'?>
<Relationships xmlns="http://schemas.openxmlformats.org/package/2006/relationships"><Relationship Id="rId1" Type="http://schemas.openxmlformats.org/officeDocument/2006/relationships/tags" Target="../tags/tag305.xml"/><Relationship Id="rId2" Type="http://schemas.openxmlformats.org/officeDocument/2006/relationships/tags" Target="../tags/tag306.xml"/><Relationship Id="rId3" Type="http://schemas.openxmlformats.org/officeDocument/2006/relationships/tags" Target="../tags/tag3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3.xml.rels><?xml version='1.0' encoding='UTF-8' standalone='yes'?>
<Relationships xmlns="http://schemas.openxmlformats.org/package/2006/relationships"><Relationship Id="rId1" Type="http://schemas.openxmlformats.org/officeDocument/2006/relationships/tags" Target="../tags/tag308.xml"/><Relationship Id="rId2" Type="http://schemas.openxmlformats.org/officeDocument/2006/relationships/tags" Target="../tags/tag309.xml"/><Relationship Id="rId3" Type="http://schemas.openxmlformats.org/officeDocument/2006/relationships/tags" Target="../tags/tag3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4.xml.rels><?xml version='1.0' encoding='UTF-8' standalone='yes'?>
<Relationships xmlns="http://schemas.openxmlformats.org/package/2006/relationships"><Relationship Id="rId1" Type="http://schemas.openxmlformats.org/officeDocument/2006/relationships/tags" Target="../tags/tag311.xml"/><Relationship Id="rId2" Type="http://schemas.openxmlformats.org/officeDocument/2006/relationships/tags" Target="../tags/tag312.xml"/><Relationship Id="rId3" Type="http://schemas.openxmlformats.org/officeDocument/2006/relationships/tags" Target="../tags/tag3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5.xml.rels><?xml version='1.0' encoding='UTF-8' standalone='yes'?>
<Relationships xmlns="http://schemas.openxmlformats.org/package/2006/relationships"><Relationship Id="rId1" Type="http://schemas.openxmlformats.org/officeDocument/2006/relationships/tags" Target="../tags/tag314.xml"/><Relationship Id="rId2" Type="http://schemas.openxmlformats.org/officeDocument/2006/relationships/tags" Target="../tags/tag315.xml"/><Relationship Id="rId3" Type="http://schemas.openxmlformats.org/officeDocument/2006/relationships/tags" Target="../tags/tag3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6.xml.rels><?xml version='1.0' encoding='UTF-8' standalone='yes'?>
<Relationships xmlns="http://schemas.openxmlformats.org/package/2006/relationships"><Relationship Id="rId1" Type="http://schemas.openxmlformats.org/officeDocument/2006/relationships/tags" Target="../tags/tag317.xml"/><Relationship Id="rId2" Type="http://schemas.openxmlformats.org/officeDocument/2006/relationships/tags" Target="../tags/tag318.xml"/><Relationship Id="rId3" Type="http://schemas.openxmlformats.org/officeDocument/2006/relationships/tags" Target="../tags/tag3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7.xml.rels><?xml version='1.0' encoding='UTF-8' standalone='yes'?>
<Relationships xmlns="http://schemas.openxmlformats.org/package/2006/relationships"><Relationship Id="rId1" Type="http://schemas.openxmlformats.org/officeDocument/2006/relationships/tags" Target="../tags/tag320.xml"/><Relationship Id="rId2" Type="http://schemas.openxmlformats.org/officeDocument/2006/relationships/tags" Target="../tags/tag321.xml"/><Relationship Id="rId3" Type="http://schemas.openxmlformats.org/officeDocument/2006/relationships/tags" Target="../tags/tag3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8.xml.rels><?xml version='1.0' encoding='UTF-8' standalone='yes'?>
<Relationships xmlns="http://schemas.openxmlformats.org/package/2006/relationships"><Relationship Id="rId1" Type="http://schemas.openxmlformats.org/officeDocument/2006/relationships/tags" Target="../tags/tag323.xml"/><Relationship Id="rId2" Type="http://schemas.openxmlformats.org/officeDocument/2006/relationships/tags" Target="../tags/tag324.xml"/><Relationship Id="rId3" Type="http://schemas.openxmlformats.org/officeDocument/2006/relationships/tags" Target="../tags/tag3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09.xml.rels><?xml version='1.0' encoding='UTF-8' standalone='yes'?>
<Relationships xmlns="http://schemas.openxmlformats.org/package/2006/relationships"><Relationship Id="rId1" Type="http://schemas.openxmlformats.org/officeDocument/2006/relationships/tags" Target="../tags/tag326.xml"/><Relationship Id="rId2" Type="http://schemas.openxmlformats.org/officeDocument/2006/relationships/tags" Target="../tags/tag327.xml"/><Relationship Id="rId3" Type="http://schemas.openxmlformats.org/officeDocument/2006/relationships/tags" Target="../tags/tag3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tags" Target="../tags/tag33.xml"/><Relationship Id="rId3" Type="http://schemas.openxmlformats.org/officeDocument/2006/relationships/tags" Target="../tags/tag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0.xml.rels><?xml version='1.0' encoding='UTF-8' standalone='yes'?>
<Relationships xmlns="http://schemas.openxmlformats.org/package/2006/relationships"><Relationship Id="rId1" Type="http://schemas.openxmlformats.org/officeDocument/2006/relationships/tags" Target="../tags/tag329.xml"/><Relationship Id="rId2" Type="http://schemas.openxmlformats.org/officeDocument/2006/relationships/tags" Target="../tags/tag330.xml"/><Relationship Id="rId3" Type="http://schemas.openxmlformats.org/officeDocument/2006/relationships/tags" Target="../tags/tag3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1.xml.rels><?xml version='1.0' encoding='UTF-8' standalone='yes'?>
<Relationships xmlns="http://schemas.openxmlformats.org/package/2006/relationships"><Relationship Id="rId1" Type="http://schemas.openxmlformats.org/officeDocument/2006/relationships/tags" Target="../tags/tag332.xml"/><Relationship Id="rId2" Type="http://schemas.openxmlformats.org/officeDocument/2006/relationships/tags" Target="../tags/tag333.xml"/><Relationship Id="rId3" Type="http://schemas.openxmlformats.org/officeDocument/2006/relationships/tags" Target="../tags/tag3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2.xml.rels><?xml version='1.0' encoding='UTF-8' standalone='yes'?>
<Relationships xmlns="http://schemas.openxmlformats.org/package/2006/relationships"><Relationship Id="rId1" Type="http://schemas.openxmlformats.org/officeDocument/2006/relationships/tags" Target="../tags/tag335.xml"/><Relationship Id="rId2" Type="http://schemas.openxmlformats.org/officeDocument/2006/relationships/tags" Target="../tags/tag336.xml"/><Relationship Id="rId3" Type="http://schemas.openxmlformats.org/officeDocument/2006/relationships/tags" Target="../tags/tag3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3.xml.rels><?xml version='1.0' encoding='UTF-8' standalone='yes'?>
<Relationships xmlns="http://schemas.openxmlformats.org/package/2006/relationships"><Relationship Id="rId1" Type="http://schemas.openxmlformats.org/officeDocument/2006/relationships/tags" Target="../tags/tag338.xml"/><Relationship Id="rId2" Type="http://schemas.openxmlformats.org/officeDocument/2006/relationships/tags" Target="../tags/tag339.xml"/><Relationship Id="rId3" Type="http://schemas.openxmlformats.org/officeDocument/2006/relationships/tags" Target="../tags/tag3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4.xml.rels><?xml version='1.0' encoding='UTF-8' standalone='yes'?>
<Relationships xmlns="http://schemas.openxmlformats.org/package/2006/relationships"><Relationship Id="rId1" Type="http://schemas.openxmlformats.org/officeDocument/2006/relationships/tags" Target="../tags/tag341.xml"/><Relationship Id="rId2" Type="http://schemas.openxmlformats.org/officeDocument/2006/relationships/tags" Target="../tags/tag342.xml"/><Relationship Id="rId3" Type="http://schemas.openxmlformats.org/officeDocument/2006/relationships/tags" Target="../tags/tag3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5.xml.rels><?xml version='1.0' encoding='UTF-8' standalone='yes'?>
<Relationships xmlns="http://schemas.openxmlformats.org/package/2006/relationships"><Relationship Id="rId1" Type="http://schemas.openxmlformats.org/officeDocument/2006/relationships/tags" Target="../tags/tag344.xml"/><Relationship Id="rId2" Type="http://schemas.openxmlformats.org/officeDocument/2006/relationships/tags" Target="../tags/tag345.xml"/><Relationship Id="rId3" Type="http://schemas.openxmlformats.org/officeDocument/2006/relationships/tags" Target="../tags/tag3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6.xml.rels><?xml version='1.0' encoding='UTF-8' standalone='yes'?>
<Relationships xmlns="http://schemas.openxmlformats.org/package/2006/relationships"><Relationship Id="rId1" Type="http://schemas.openxmlformats.org/officeDocument/2006/relationships/tags" Target="../tags/tag347.xml"/><Relationship Id="rId2" Type="http://schemas.openxmlformats.org/officeDocument/2006/relationships/tags" Target="../tags/tag348.xml"/><Relationship Id="rId3" Type="http://schemas.openxmlformats.org/officeDocument/2006/relationships/tags" Target="../tags/tag3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7.xml.rels><?xml version='1.0' encoding='UTF-8' standalone='yes'?>
<Relationships xmlns="http://schemas.openxmlformats.org/package/2006/relationships"><Relationship Id="rId1" Type="http://schemas.openxmlformats.org/officeDocument/2006/relationships/tags" Target="../tags/tag350.xml"/><Relationship Id="rId2" Type="http://schemas.openxmlformats.org/officeDocument/2006/relationships/tags" Target="../tags/tag351.xml"/><Relationship Id="rId3" Type="http://schemas.openxmlformats.org/officeDocument/2006/relationships/tags" Target="../tags/tag3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8.xml.rels><?xml version='1.0' encoding='UTF-8' standalone='yes'?>
<Relationships xmlns="http://schemas.openxmlformats.org/package/2006/relationships"><Relationship Id="rId1" Type="http://schemas.openxmlformats.org/officeDocument/2006/relationships/tags" Target="../tags/tag353.xml"/><Relationship Id="rId2" Type="http://schemas.openxmlformats.org/officeDocument/2006/relationships/tags" Target="../tags/tag354.xml"/><Relationship Id="rId3" Type="http://schemas.openxmlformats.org/officeDocument/2006/relationships/tags" Target="../tags/tag3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19.xml.rels><?xml version='1.0' encoding='UTF-8' standalone='yes'?>
<Relationships xmlns="http://schemas.openxmlformats.org/package/2006/relationships"><Relationship Id="rId1" Type="http://schemas.openxmlformats.org/officeDocument/2006/relationships/tags" Target="../tags/tag356.xml"/><Relationship Id="rId2" Type="http://schemas.openxmlformats.org/officeDocument/2006/relationships/tags" Target="../tags/tag357.xml"/><Relationship Id="rId3" Type="http://schemas.openxmlformats.org/officeDocument/2006/relationships/tags" Target="../tags/tag3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tags" Target="../tags/tag36.xml"/><Relationship Id="rId3" Type="http://schemas.openxmlformats.org/officeDocument/2006/relationships/tags" Target="../tags/tag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0.xml.rels><?xml version='1.0' encoding='UTF-8' standalone='yes'?>
<Relationships xmlns="http://schemas.openxmlformats.org/package/2006/relationships"><Relationship Id="rId1" Type="http://schemas.openxmlformats.org/officeDocument/2006/relationships/tags" Target="../tags/tag359.xml"/><Relationship Id="rId2" Type="http://schemas.openxmlformats.org/officeDocument/2006/relationships/tags" Target="../tags/tag360.xml"/><Relationship Id="rId3" Type="http://schemas.openxmlformats.org/officeDocument/2006/relationships/tags" Target="../tags/tag3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1.xml.rels><?xml version='1.0' encoding='UTF-8' standalone='yes'?>
<Relationships xmlns="http://schemas.openxmlformats.org/package/2006/relationships"><Relationship Id="rId1" Type="http://schemas.openxmlformats.org/officeDocument/2006/relationships/tags" Target="../tags/tag362.xml"/><Relationship Id="rId2" Type="http://schemas.openxmlformats.org/officeDocument/2006/relationships/tags" Target="../tags/tag363.xml"/><Relationship Id="rId3" Type="http://schemas.openxmlformats.org/officeDocument/2006/relationships/tags" Target="../tags/tag3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2.xml.rels><?xml version='1.0' encoding='UTF-8' standalone='yes'?>
<Relationships xmlns="http://schemas.openxmlformats.org/package/2006/relationships"><Relationship Id="rId1" Type="http://schemas.openxmlformats.org/officeDocument/2006/relationships/tags" Target="../tags/tag365.xml"/><Relationship Id="rId2" Type="http://schemas.openxmlformats.org/officeDocument/2006/relationships/tags" Target="../tags/tag366.xml"/><Relationship Id="rId3" Type="http://schemas.openxmlformats.org/officeDocument/2006/relationships/tags" Target="../tags/tag3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3.xml.rels><?xml version='1.0' encoding='UTF-8' standalone='yes'?>
<Relationships xmlns="http://schemas.openxmlformats.org/package/2006/relationships"><Relationship Id="rId1" Type="http://schemas.openxmlformats.org/officeDocument/2006/relationships/tags" Target="../tags/tag368.xml"/><Relationship Id="rId2" Type="http://schemas.openxmlformats.org/officeDocument/2006/relationships/tags" Target="../tags/tag369.xml"/><Relationship Id="rId3" Type="http://schemas.openxmlformats.org/officeDocument/2006/relationships/tags" Target="../tags/tag3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4.xml.rels><?xml version='1.0' encoding='UTF-8' standalone='yes'?>
<Relationships xmlns="http://schemas.openxmlformats.org/package/2006/relationships"><Relationship Id="rId1" Type="http://schemas.openxmlformats.org/officeDocument/2006/relationships/tags" Target="../tags/tag371.xml"/><Relationship Id="rId2" Type="http://schemas.openxmlformats.org/officeDocument/2006/relationships/tags" Target="../tags/tag372.xml"/><Relationship Id="rId3" Type="http://schemas.openxmlformats.org/officeDocument/2006/relationships/tags" Target="../tags/tag3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5.xml.rels><?xml version='1.0' encoding='UTF-8' standalone='yes'?>
<Relationships xmlns="http://schemas.openxmlformats.org/package/2006/relationships"><Relationship Id="rId1" Type="http://schemas.openxmlformats.org/officeDocument/2006/relationships/tags" Target="../tags/tag374.xml"/><Relationship Id="rId2" Type="http://schemas.openxmlformats.org/officeDocument/2006/relationships/tags" Target="../tags/tag375.xml"/><Relationship Id="rId3" Type="http://schemas.openxmlformats.org/officeDocument/2006/relationships/tags" Target="../tags/tag3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6.xml.rels><?xml version='1.0' encoding='UTF-8' standalone='yes'?>
<Relationships xmlns="http://schemas.openxmlformats.org/package/2006/relationships"><Relationship Id="rId1" Type="http://schemas.openxmlformats.org/officeDocument/2006/relationships/tags" Target="../tags/tag377.xml"/><Relationship Id="rId2" Type="http://schemas.openxmlformats.org/officeDocument/2006/relationships/tags" Target="../tags/tag378.xml"/><Relationship Id="rId3" Type="http://schemas.openxmlformats.org/officeDocument/2006/relationships/tags" Target="../tags/tag3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7.xml.rels><?xml version='1.0' encoding='UTF-8' standalone='yes'?>
<Relationships xmlns="http://schemas.openxmlformats.org/package/2006/relationships"><Relationship Id="rId1" Type="http://schemas.openxmlformats.org/officeDocument/2006/relationships/tags" Target="../tags/tag380.xml"/><Relationship Id="rId2" Type="http://schemas.openxmlformats.org/officeDocument/2006/relationships/tags" Target="../tags/tag381.xml"/><Relationship Id="rId3" Type="http://schemas.openxmlformats.org/officeDocument/2006/relationships/tags" Target="../tags/tag3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8.xml.rels><?xml version='1.0' encoding='UTF-8' standalone='yes'?>
<Relationships xmlns="http://schemas.openxmlformats.org/package/2006/relationships"><Relationship Id="rId1" Type="http://schemas.openxmlformats.org/officeDocument/2006/relationships/tags" Target="../tags/tag383.xml"/><Relationship Id="rId2" Type="http://schemas.openxmlformats.org/officeDocument/2006/relationships/tags" Target="../tags/tag384.xml"/><Relationship Id="rId3" Type="http://schemas.openxmlformats.org/officeDocument/2006/relationships/tags" Target="../tags/tag3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29.xml.rels><?xml version='1.0' encoding='UTF-8' standalone='yes'?>
<Relationships xmlns="http://schemas.openxmlformats.org/package/2006/relationships"><Relationship Id="rId1" Type="http://schemas.openxmlformats.org/officeDocument/2006/relationships/tags" Target="../tags/tag386.xml"/><Relationship Id="rId2" Type="http://schemas.openxmlformats.org/officeDocument/2006/relationships/tags" Target="../tags/tag387.xml"/><Relationship Id="rId3" Type="http://schemas.openxmlformats.org/officeDocument/2006/relationships/tags" Target="../tags/tag3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tags" Target="../tags/tag39.xml"/><Relationship Id="rId3" Type="http://schemas.openxmlformats.org/officeDocument/2006/relationships/tags" Target="../tags/tag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0.xml.rels><?xml version='1.0' encoding='UTF-8' standalone='yes'?>
<Relationships xmlns="http://schemas.openxmlformats.org/package/2006/relationships"><Relationship Id="rId1" Type="http://schemas.openxmlformats.org/officeDocument/2006/relationships/tags" Target="../tags/tag389.xml"/><Relationship Id="rId2" Type="http://schemas.openxmlformats.org/officeDocument/2006/relationships/tags" Target="../tags/tag390.xml"/><Relationship Id="rId3" Type="http://schemas.openxmlformats.org/officeDocument/2006/relationships/tags" Target="../tags/tag3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1.xml.rels><?xml version='1.0' encoding='UTF-8' standalone='yes'?>
<Relationships xmlns="http://schemas.openxmlformats.org/package/2006/relationships"><Relationship Id="rId1" Type="http://schemas.openxmlformats.org/officeDocument/2006/relationships/tags" Target="../tags/tag392.xml"/><Relationship Id="rId2" Type="http://schemas.openxmlformats.org/officeDocument/2006/relationships/tags" Target="../tags/tag393.xml"/><Relationship Id="rId3" Type="http://schemas.openxmlformats.org/officeDocument/2006/relationships/tags" Target="../tags/tag3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2.xml.rels><?xml version='1.0' encoding='UTF-8' standalone='yes'?>
<Relationships xmlns="http://schemas.openxmlformats.org/package/2006/relationships"><Relationship Id="rId1" Type="http://schemas.openxmlformats.org/officeDocument/2006/relationships/tags" Target="../tags/tag395.xml"/><Relationship Id="rId2" Type="http://schemas.openxmlformats.org/officeDocument/2006/relationships/tags" Target="../tags/tag396.xml"/><Relationship Id="rId3" Type="http://schemas.openxmlformats.org/officeDocument/2006/relationships/tags" Target="../tags/tag3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3.xml.rels><?xml version='1.0' encoding='UTF-8' standalone='yes'?>
<Relationships xmlns="http://schemas.openxmlformats.org/package/2006/relationships"><Relationship Id="rId1" Type="http://schemas.openxmlformats.org/officeDocument/2006/relationships/tags" Target="../tags/tag398.xml"/><Relationship Id="rId2" Type="http://schemas.openxmlformats.org/officeDocument/2006/relationships/tags" Target="../tags/tag399.xml"/><Relationship Id="rId3" Type="http://schemas.openxmlformats.org/officeDocument/2006/relationships/tags" Target="../tags/tag4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4.xml.rels><?xml version='1.0' encoding='UTF-8' standalone='yes'?>
<Relationships xmlns="http://schemas.openxmlformats.org/package/2006/relationships"><Relationship Id="rId1" Type="http://schemas.openxmlformats.org/officeDocument/2006/relationships/tags" Target="../tags/tag401.xml"/><Relationship Id="rId2" Type="http://schemas.openxmlformats.org/officeDocument/2006/relationships/tags" Target="../tags/tag402.xml"/><Relationship Id="rId3" Type="http://schemas.openxmlformats.org/officeDocument/2006/relationships/tags" Target="../tags/tag4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5.xml.rels><?xml version='1.0' encoding='UTF-8' standalone='yes'?>
<Relationships xmlns="http://schemas.openxmlformats.org/package/2006/relationships"><Relationship Id="rId1" Type="http://schemas.openxmlformats.org/officeDocument/2006/relationships/tags" Target="../tags/tag404.xml"/><Relationship Id="rId2" Type="http://schemas.openxmlformats.org/officeDocument/2006/relationships/tags" Target="../tags/tag405.xml"/><Relationship Id="rId3" Type="http://schemas.openxmlformats.org/officeDocument/2006/relationships/tags" Target="../tags/tag4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6.xml.rels><?xml version='1.0' encoding='UTF-8' standalone='yes'?>
<Relationships xmlns="http://schemas.openxmlformats.org/package/2006/relationships"><Relationship Id="rId1" Type="http://schemas.openxmlformats.org/officeDocument/2006/relationships/tags" Target="../tags/tag407.xml"/><Relationship Id="rId2" Type="http://schemas.openxmlformats.org/officeDocument/2006/relationships/tags" Target="../tags/tag408.xml"/><Relationship Id="rId3" Type="http://schemas.openxmlformats.org/officeDocument/2006/relationships/tags" Target="../tags/tag4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7.xml.rels><?xml version='1.0' encoding='UTF-8' standalone='yes'?>
<Relationships xmlns="http://schemas.openxmlformats.org/package/2006/relationships"><Relationship Id="rId1" Type="http://schemas.openxmlformats.org/officeDocument/2006/relationships/tags" Target="../tags/tag410.xml"/><Relationship Id="rId2" Type="http://schemas.openxmlformats.org/officeDocument/2006/relationships/tags" Target="../tags/tag411.xml"/><Relationship Id="rId3" Type="http://schemas.openxmlformats.org/officeDocument/2006/relationships/tags" Target="../tags/tag4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8.xml.rels><?xml version='1.0' encoding='UTF-8' standalone='yes'?>
<Relationships xmlns="http://schemas.openxmlformats.org/package/2006/relationships"><Relationship Id="rId1" Type="http://schemas.openxmlformats.org/officeDocument/2006/relationships/tags" Target="../tags/tag413.xml"/><Relationship Id="rId2" Type="http://schemas.openxmlformats.org/officeDocument/2006/relationships/tags" Target="../tags/tag414.xml"/><Relationship Id="rId3" Type="http://schemas.openxmlformats.org/officeDocument/2006/relationships/tags" Target="../tags/tag4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39.xml.rels><?xml version='1.0' encoding='UTF-8' standalone='yes'?>
<Relationships xmlns="http://schemas.openxmlformats.org/package/2006/relationships"><Relationship Id="rId1" Type="http://schemas.openxmlformats.org/officeDocument/2006/relationships/tags" Target="../tags/tag416.xml"/><Relationship Id="rId2" Type="http://schemas.openxmlformats.org/officeDocument/2006/relationships/tags" Target="../tags/tag417.xml"/><Relationship Id="rId3" Type="http://schemas.openxmlformats.org/officeDocument/2006/relationships/tags" Target="../tags/tag4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0.xml.rels><?xml version='1.0' encoding='UTF-8' standalone='yes'?>
<Relationships xmlns="http://schemas.openxmlformats.org/package/2006/relationships"><Relationship Id="rId1" Type="http://schemas.openxmlformats.org/officeDocument/2006/relationships/tags" Target="../tags/tag419.xml"/><Relationship Id="rId2" Type="http://schemas.openxmlformats.org/officeDocument/2006/relationships/tags" Target="../tags/tag420.xml"/><Relationship Id="rId3" Type="http://schemas.openxmlformats.org/officeDocument/2006/relationships/tags" Target="../tags/tag4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1.xml.rels><?xml version='1.0' encoding='UTF-8' standalone='yes'?>
<Relationships xmlns="http://schemas.openxmlformats.org/package/2006/relationships"><Relationship Id="rId1" Type="http://schemas.openxmlformats.org/officeDocument/2006/relationships/tags" Target="../tags/tag422.xml"/><Relationship Id="rId2" Type="http://schemas.openxmlformats.org/officeDocument/2006/relationships/tags" Target="../tags/tag423.xml"/><Relationship Id="rId3" Type="http://schemas.openxmlformats.org/officeDocument/2006/relationships/tags" Target="../tags/tag4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2.xml.rels><?xml version='1.0' encoding='UTF-8' standalone='yes'?>
<Relationships xmlns="http://schemas.openxmlformats.org/package/2006/relationships"><Relationship Id="rId1" Type="http://schemas.openxmlformats.org/officeDocument/2006/relationships/tags" Target="../tags/tag425.xml"/><Relationship Id="rId2" Type="http://schemas.openxmlformats.org/officeDocument/2006/relationships/tags" Target="../tags/tag426.xml"/><Relationship Id="rId3" Type="http://schemas.openxmlformats.org/officeDocument/2006/relationships/tags" Target="../tags/tag4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3.xml.rels><?xml version='1.0' encoding='UTF-8' standalone='yes'?>
<Relationships xmlns="http://schemas.openxmlformats.org/package/2006/relationships"><Relationship Id="rId1" Type="http://schemas.openxmlformats.org/officeDocument/2006/relationships/tags" Target="../tags/tag428.xml"/><Relationship Id="rId2" Type="http://schemas.openxmlformats.org/officeDocument/2006/relationships/tags" Target="../tags/tag429.xml"/><Relationship Id="rId3" Type="http://schemas.openxmlformats.org/officeDocument/2006/relationships/tags" Target="../tags/tag4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4.xml.rels><?xml version='1.0' encoding='UTF-8' standalone='yes'?>
<Relationships xmlns="http://schemas.openxmlformats.org/package/2006/relationships"><Relationship Id="rId1" Type="http://schemas.openxmlformats.org/officeDocument/2006/relationships/tags" Target="../tags/tag431.xml"/><Relationship Id="rId2" Type="http://schemas.openxmlformats.org/officeDocument/2006/relationships/tags" Target="../tags/tag432.xml"/><Relationship Id="rId3" Type="http://schemas.openxmlformats.org/officeDocument/2006/relationships/tags" Target="../tags/tag4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5.xml.rels><?xml version='1.0' encoding='UTF-8' standalone='yes'?>
<Relationships xmlns="http://schemas.openxmlformats.org/package/2006/relationships"><Relationship Id="rId1" Type="http://schemas.openxmlformats.org/officeDocument/2006/relationships/tags" Target="../tags/tag434.xml"/><Relationship Id="rId2" Type="http://schemas.openxmlformats.org/officeDocument/2006/relationships/tags" Target="../tags/tag435.xml"/><Relationship Id="rId3" Type="http://schemas.openxmlformats.org/officeDocument/2006/relationships/tags" Target="../tags/tag4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6.xml.rels><?xml version='1.0' encoding='UTF-8' standalone='yes'?>
<Relationships xmlns="http://schemas.openxmlformats.org/package/2006/relationships"><Relationship Id="rId1" Type="http://schemas.openxmlformats.org/officeDocument/2006/relationships/tags" Target="../tags/tag437.xml"/><Relationship Id="rId2" Type="http://schemas.openxmlformats.org/officeDocument/2006/relationships/tags" Target="../tags/tag438.xml"/><Relationship Id="rId3" Type="http://schemas.openxmlformats.org/officeDocument/2006/relationships/tags" Target="../tags/tag4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7.xml.rels><?xml version='1.0' encoding='UTF-8' standalone='yes'?>
<Relationships xmlns="http://schemas.openxmlformats.org/package/2006/relationships"><Relationship Id="rId1" Type="http://schemas.openxmlformats.org/officeDocument/2006/relationships/tags" Target="../tags/tag440.xml"/><Relationship Id="rId2" Type="http://schemas.openxmlformats.org/officeDocument/2006/relationships/tags" Target="../tags/tag441.xml"/><Relationship Id="rId3" Type="http://schemas.openxmlformats.org/officeDocument/2006/relationships/tags" Target="../tags/tag4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8.xml.rels><?xml version='1.0' encoding='UTF-8' standalone='yes'?>
<Relationships xmlns="http://schemas.openxmlformats.org/package/2006/relationships"><Relationship Id="rId1" Type="http://schemas.openxmlformats.org/officeDocument/2006/relationships/tags" Target="../tags/tag443.xml"/><Relationship Id="rId2" Type="http://schemas.openxmlformats.org/officeDocument/2006/relationships/tags" Target="../tags/tag444.xml"/><Relationship Id="rId3" Type="http://schemas.openxmlformats.org/officeDocument/2006/relationships/tags" Target="../tags/tag4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49.xml.rels><?xml version='1.0' encoding='UTF-8' standalone='yes'?>
<Relationships xmlns="http://schemas.openxmlformats.org/package/2006/relationships"><Relationship Id="rId1" Type="http://schemas.openxmlformats.org/officeDocument/2006/relationships/tags" Target="../tags/tag446.xml"/><Relationship Id="rId2" Type="http://schemas.openxmlformats.org/officeDocument/2006/relationships/tags" Target="../tags/tag447.xml"/><Relationship Id="rId3" Type="http://schemas.openxmlformats.org/officeDocument/2006/relationships/tags" Target="../tags/tag4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tags" Target="../tags/tag45.xml"/><Relationship Id="rId3" Type="http://schemas.openxmlformats.org/officeDocument/2006/relationships/tags" Target="../tags/tag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0.xml.rels><?xml version='1.0' encoding='UTF-8' standalone='yes'?>
<Relationships xmlns="http://schemas.openxmlformats.org/package/2006/relationships"><Relationship Id="rId1" Type="http://schemas.openxmlformats.org/officeDocument/2006/relationships/tags" Target="../tags/tag449.xml"/><Relationship Id="rId2" Type="http://schemas.openxmlformats.org/officeDocument/2006/relationships/tags" Target="../tags/tag450.xml"/><Relationship Id="rId3" Type="http://schemas.openxmlformats.org/officeDocument/2006/relationships/tags" Target="../tags/tag4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1.xml.rels><?xml version='1.0' encoding='UTF-8' standalone='yes'?>
<Relationships xmlns="http://schemas.openxmlformats.org/package/2006/relationships"><Relationship Id="rId1" Type="http://schemas.openxmlformats.org/officeDocument/2006/relationships/tags" Target="../tags/tag452.xml"/><Relationship Id="rId2" Type="http://schemas.openxmlformats.org/officeDocument/2006/relationships/tags" Target="../tags/tag453.xml"/><Relationship Id="rId3" Type="http://schemas.openxmlformats.org/officeDocument/2006/relationships/tags" Target="../tags/tag4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2.xml.rels><?xml version='1.0' encoding='UTF-8' standalone='yes'?>
<Relationships xmlns="http://schemas.openxmlformats.org/package/2006/relationships"><Relationship Id="rId1" Type="http://schemas.openxmlformats.org/officeDocument/2006/relationships/tags" Target="../tags/tag455.xml"/><Relationship Id="rId2" Type="http://schemas.openxmlformats.org/officeDocument/2006/relationships/tags" Target="../tags/tag456.xml"/><Relationship Id="rId3" Type="http://schemas.openxmlformats.org/officeDocument/2006/relationships/tags" Target="../tags/tag4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3.xml.rels><?xml version='1.0' encoding='UTF-8' standalone='yes'?>
<Relationships xmlns="http://schemas.openxmlformats.org/package/2006/relationships"><Relationship Id="rId1" Type="http://schemas.openxmlformats.org/officeDocument/2006/relationships/tags" Target="../tags/tag458.xml"/><Relationship Id="rId2" Type="http://schemas.openxmlformats.org/officeDocument/2006/relationships/tags" Target="../tags/tag459.xml"/><Relationship Id="rId3" Type="http://schemas.openxmlformats.org/officeDocument/2006/relationships/tags" Target="../tags/tag4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4.xml.rels><?xml version='1.0' encoding='UTF-8' standalone='yes'?>
<Relationships xmlns="http://schemas.openxmlformats.org/package/2006/relationships"><Relationship Id="rId1" Type="http://schemas.openxmlformats.org/officeDocument/2006/relationships/tags" Target="../tags/tag461.xml"/><Relationship Id="rId2" Type="http://schemas.openxmlformats.org/officeDocument/2006/relationships/tags" Target="../tags/tag462.xml"/><Relationship Id="rId3" Type="http://schemas.openxmlformats.org/officeDocument/2006/relationships/tags" Target="../tags/tag4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5.xml.rels><?xml version='1.0' encoding='UTF-8' standalone='yes'?>
<Relationships xmlns="http://schemas.openxmlformats.org/package/2006/relationships"><Relationship Id="rId1" Type="http://schemas.openxmlformats.org/officeDocument/2006/relationships/tags" Target="../tags/tag464.xml"/><Relationship Id="rId2" Type="http://schemas.openxmlformats.org/officeDocument/2006/relationships/tags" Target="../tags/tag465.xml"/><Relationship Id="rId3" Type="http://schemas.openxmlformats.org/officeDocument/2006/relationships/tags" Target="../tags/tag4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6.xml.rels><?xml version='1.0' encoding='UTF-8' standalone='yes'?>
<Relationships xmlns="http://schemas.openxmlformats.org/package/2006/relationships"><Relationship Id="rId1" Type="http://schemas.openxmlformats.org/officeDocument/2006/relationships/tags" Target="../tags/tag467.xml"/><Relationship Id="rId2" Type="http://schemas.openxmlformats.org/officeDocument/2006/relationships/tags" Target="../tags/tag468.xml"/><Relationship Id="rId3" Type="http://schemas.openxmlformats.org/officeDocument/2006/relationships/tags" Target="../tags/tag4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7.xml.rels><?xml version='1.0' encoding='UTF-8' standalone='yes'?>
<Relationships xmlns="http://schemas.openxmlformats.org/package/2006/relationships"><Relationship Id="rId1" Type="http://schemas.openxmlformats.org/officeDocument/2006/relationships/tags" Target="../tags/tag470.xml"/><Relationship Id="rId2" Type="http://schemas.openxmlformats.org/officeDocument/2006/relationships/tags" Target="../tags/tag471.xml"/><Relationship Id="rId3" Type="http://schemas.openxmlformats.org/officeDocument/2006/relationships/tags" Target="../tags/tag4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8.xml.rels><?xml version='1.0' encoding='UTF-8' standalone='yes'?>
<Relationships xmlns="http://schemas.openxmlformats.org/package/2006/relationships"><Relationship Id="rId1" Type="http://schemas.openxmlformats.org/officeDocument/2006/relationships/tags" Target="../tags/tag473.xml"/><Relationship Id="rId2" Type="http://schemas.openxmlformats.org/officeDocument/2006/relationships/tags" Target="../tags/tag474.xml"/><Relationship Id="rId3" Type="http://schemas.openxmlformats.org/officeDocument/2006/relationships/tags" Target="../tags/tag4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59.xml.rels><?xml version='1.0' encoding='UTF-8' standalone='yes'?>
<Relationships xmlns="http://schemas.openxmlformats.org/package/2006/relationships"><Relationship Id="rId1" Type="http://schemas.openxmlformats.org/officeDocument/2006/relationships/tags" Target="../tags/tag476.xml"/><Relationship Id="rId2" Type="http://schemas.openxmlformats.org/officeDocument/2006/relationships/tags" Target="../tags/tag477.xml"/><Relationship Id="rId3" Type="http://schemas.openxmlformats.org/officeDocument/2006/relationships/tags" Target="../tags/tag4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tags" Target="../tags/tag47.xml"/><Relationship Id="rId2" Type="http://schemas.openxmlformats.org/officeDocument/2006/relationships/tags" Target="../tags/tag48.xml"/><Relationship Id="rId3" Type="http://schemas.openxmlformats.org/officeDocument/2006/relationships/tags" Target="../tags/tag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0.xml.rels><?xml version='1.0' encoding='UTF-8' standalone='yes'?>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tags" Target="../tags/tag480.xml"/><Relationship Id="rId3" Type="http://schemas.openxmlformats.org/officeDocument/2006/relationships/tags" Target="../tags/tag4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1.xml.rels><?xml version='1.0' encoding='UTF-8' standalone='yes'?>
<Relationships xmlns="http://schemas.openxmlformats.org/package/2006/relationships"><Relationship Id="rId1" Type="http://schemas.openxmlformats.org/officeDocument/2006/relationships/tags" Target="../tags/tag482.xml"/><Relationship Id="rId2" Type="http://schemas.openxmlformats.org/officeDocument/2006/relationships/tags" Target="../tags/tag483.xml"/><Relationship Id="rId3" Type="http://schemas.openxmlformats.org/officeDocument/2006/relationships/tags" Target="../tags/tag4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2.xml.rels><?xml version='1.0' encoding='UTF-8' standalone='yes'?>
<Relationships xmlns="http://schemas.openxmlformats.org/package/2006/relationships"><Relationship Id="rId1" Type="http://schemas.openxmlformats.org/officeDocument/2006/relationships/tags" Target="../tags/tag485.xml"/><Relationship Id="rId2" Type="http://schemas.openxmlformats.org/officeDocument/2006/relationships/tags" Target="../tags/tag486.xml"/><Relationship Id="rId3" Type="http://schemas.openxmlformats.org/officeDocument/2006/relationships/tags" Target="../tags/tag4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3.xml.rels><?xml version='1.0' encoding='UTF-8' standalone='yes'?>
<Relationships xmlns="http://schemas.openxmlformats.org/package/2006/relationships"><Relationship Id="rId1" Type="http://schemas.openxmlformats.org/officeDocument/2006/relationships/tags" Target="../tags/tag488.xml"/><Relationship Id="rId2" Type="http://schemas.openxmlformats.org/officeDocument/2006/relationships/tags" Target="../tags/tag489.xml"/><Relationship Id="rId3" Type="http://schemas.openxmlformats.org/officeDocument/2006/relationships/tags" Target="../tags/tag4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4.xml.rels><?xml version='1.0' encoding='UTF-8' standalone='yes'?>
<Relationships xmlns="http://schemas.openxmlformats.org/package/2006/relationships"><Relationship Id="rId1" Type="http://schemas.openxmlformats.org/officeDocument/2006/relationships/tags" Target="../tags/tag491.xml"/><Relationship Id="rId2" Type="http://schemas.openxmlformats.org/officeDocument/2006/relationships/tags" Target="../tags/tag492.xml"/><Relationship Id="rId3" Type="http://schemas.openxmlformats.org/officeDocument/2006/relationships/tags" Target="../tags/tag4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5.xml.rels><?xml version='1.0' encoding='UTF-8' standalone='yes'?>
<Relationships xmlns="http://schemas.openxmlformats.org/package/2006/relationships"><Relationship Id="rId1" Type="http://schemas.openxmlformats.org/officeDocument/2006/relationships/tags" Target="../tags/tag494.xml"/><Relationship Id="rId2" Type="http://schemas.openxmlformats.org/officeDocument/2006/relationships/tags" Target="../tags/tag495.xml"/><Relationship Id="rId3" Type="http://schemas.openxmlformats.org/officeDocument/2006/relationships/tags" Target="../tags/tag4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6.xml.rels><?xml version='1.0' encoding='UTF-8' standalone='yes'?>
<Relationships xmlns="http://schemas.openxmlformats.org/package/2006/relationships"><Relationship Id="rId1" Type="http://schemas.openxmlformats.org/officeDocument/2006/relationships/tags" Target="../tags/tag497.xml"/><Relationship Id="rId2" Type="http://schemas.openxmlformats.org/officeDocument/2006/relationships/tags" Target="../tags/tag498.xml"/><Relationship Id="rId3" Type="http://schemas.openxmlformats.org/officeDocument/2006/relationships/tags" Target="../tags/tag4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7.xml.rels><?xml version='1.0' encoding='UTF-8' standalone='yes'?>
<Relationships xmlns="http://schemas.openxmlformats.org/package/2006/relationships"><Relationship Id="rId1" Type="http://schemas.openxmlformats.org/officeDocument/2006/relationships/tags" Target="../tags/tag500.xml"/><Relationship Id="rId2" Type="http://schemas.openxmlformats.org/officeDocument/2006/relationships/tags" Target="../tags/tag501.xml"/><Relationship Id="rId3" Type="http://schemas.openxmlformats.org/officeDocument/2006/relationships/tags" Target="../tags/tag5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8.xml.rels><?xml version='1.0' encoding='UTF-8' standalone='yes'?>
<Relationships xmlns="http://schemas.openxmlformats.org/package/2006/relationships"><Relationship Id="rId1" Type="http://schemas.openxmlformats.org/officeDocument/2006/relationships/tags" Target="../tags/tag503.xml"/><Relationship Id="rId2" Type="http://schemas.openxmlformats.org/officeDocument/2006/relationships/tags" Target="../tags/tag504.xml"/><Relationship Id="rId3" Type="http://schemas.openxmlformats.org/officeDocument/2006/relationships/tags" Target="../tags/tag5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69.xml.rels><?xml version='1.0' encoding='UTF-8' standalone='yes'?>
<Relationships xmlns="http://schemas.openxmlformats.org/package/2006/relationships"><Relationship Id="rId1" Type="http://schemas.openxmlformats.org/officeDocument/2006/relationships/tags" Target="../tags/tag506.xml"/><Relationship Id="rId2" Type="http://schemas.openxmlformats.org/officeDocument/2006/relationships/tags" Target="../tags/tag507.xml"/><Relationship Id="rId3" Type="http://schemas.openxmlformats.org/officeDocument/2006/relationships/tags" Target="../tags/tag5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tags" Target="../tags/tag50.xml"/><Relationship Id="rId2" Type="http://schemas.openxmlformats.org/officeDocument/2006/relationships/tags" Target="../tags/tag51.xml"/><Relationship Id="rId3" Type="http://schemas.openxmlformats.org/officeDocument/2006/relationships/tags" Target="../tags/tag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0.xml.rels><?xml version='1.0' encoding='UTF-8' standalone='yes'?>
<Relationships xmlns="http://schemas.openxmlformats.org/package/2006/relationships"><Relationship Id="rId1" Type="http://schemas.openxmlformats.org/officeDocument/2006/relationships/tags" Target="../tags/tag509.xml"/><Relationship Id="rId2" Type="http://schemas.openxmlformats.org/officeDocument/2006/relationships/tags" Target="../tags/tag510.xml"/><Relationship Id="rId3" Type="http://schemas.openxmlformats.org/officeDocument/2006/relationships/tags" Target="../tags/tag5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1.xml.rels><?xml version='1.0' encoding='UTF-8' standalone='yes'?>
<Relationships xmlns="http://schemas.openxmlformats.org/package/2006/relationships"><Relationship Id="rId1" Type="http://schemas.openxmlformats.org/officeDocument/2006/relationships/tags" Target="../tags/tag512.xml"/><Relationship Id="rId2" Type="http://schemas.openxmlformats.org/officeDocument/2006/relationships/tags" Target="../tags/tag513.xml"/><Relationship Id="rId3" Type="http://schemas.openxmlformats.org/officeDocument/2006/relationships/tags" Target="../tags/tag5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2.xml.rels><?xml version='1.0' encoding='UTF-8' standalone='yes'?>
<Relationships xmlns="http://schemas.openxmlformats.org/package/2006/relationships"><Relationship Id="rId1" Type="http://schemas.openxmlformats.org/officeDocument/2006/relationships/tags" Target="../tags/tag515.xml"/><Relationship Id="rId2" Type="http://schemas.openxmlformats.org/officeDocument/2006/relationships/tags" Target="../tags/tag516.xml"/><Relationship Id="rId3" Type="http://schemas.openxmlformats.org/officeDocument/2006/relationships/tags" Target="../tags/tag5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3.xml.rels><?xml version='1.0' encoding='UTF-8' standalone='yes'?>
<Relationships xmlns="http://schemas.openxmlformats.org/package/2006/relationships"><Relationship Id="rId1" Type="http://schemas.openxmlformats.org/officeDocument/2006/relationships/tags" Target="../tags/tag518.xml"/><Relationship Id="rId2" Type="http://schemas.openxmlformats.org/officeDocument/2006/relationships/tags" Target="../tags/tag519.xml"/><Relationship Id="rId3" Type="http://schemas.openxmlformats.org/officeDocument/2006/relationships/tags" Target="../tags/tag5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4.xml.rels><?xml version='1.0' encoding='UTF-8' standalone='yes'?>
<Relationships xmlns="http://schemas.openxmlformats.org/package/2006/relationships"><Relationship Id="rId1" Type="http://schemas.openxmlformats.org/officeDocument/2006/relationships/tags" Target="../tags/tag521.xml"/><Relationship Id="rId2" Type="http://schemas.openxmlformats.org/officeDocument/2006/relationships/tags" Target="../tags/tag522.xml"/><Relationship Id="rId3" Type="http://schemas.openxmlformats.org/officeDocument/2006/relationships/tags" Target="../tags/tag5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5.xml.rels><?xml version='1.0' encoding='UTF-8' standalone='yes'?>
<Relationships xmlns="http://schemas.openxmlformats.org/package/2006/relationships"><Relationship Id="rId1" Type="http://schemas.openxmlformats.org/officeDocument/2006/relationships/tags" Target="../tags/tag524.xml"/><Relationship Id="rId2" Type="http://schemas.openxmlformats.org/officeDocument/2006/relationships/tags" Target="../tags/tag525.xml"/><Relationship Id="rId3" Type="http://schemas.openxmlformats.org/officeDocument/2006/relationships/tags" Target="../tags/tag5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6.xml.rels><?xml version='1.0' encoding='UTF-8' standalone='yes'?>
<Relationships xmlns="http://schemas.openxmlformats.org/package/2006/relationships"><Relationship Id="rId1" Type="http://schemas.openxmlformats.org/officeDocument/2006/relationships/tags" Target="../tags/tag527.xml"/><Relationship Id="rId2" Type="http://schemas.openxmlformats.org/officeDocument/2006/relationships/tags" Target="../tags/tag528.xml"/><Relationship Id="rId3" Type="http://schemas.openxmlformats.org/officeDocument/2006/relationships/tags" Target="../tags/tag5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7.xml.rels><?xml version='1.0' encoding='UTF-8' standalone='yes'?>
<Relationships xmlns="http://schemas.openxmlformats.org/package/2006/relationships"><Relationship Id="rId1" Type="http://schemas.openxmlformats.org/officeDocument/2006/relationships/tags" Target="../tags/tag530.xml"/><Relationship Id="rId2" Type="http://schemas.openxmlformats.org/officeDocument/2006/relationships/tags" Target="../tags/tag531.xml"/><Relationship Id="rId3" Type="http://schemas.openxmlformats.org/officeDocument/2006/relationships/tags" Target="../tags/tag5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8.xml.rels><?xml version='1.0' encoding='UTF-8' standalone='yes'?>
<Relationships xmlns="http://schemas.openxmlformats.org/package/2006/relationships"><Relationship Id="rId1" Type="http://schemas.openxmlformats.org/officeDocument/2006/relationships/tags" Target="../tags/tag533.xml"/><Relationship Id="rId2" Type="http://schemas.openxmlformats.org/officeDocument/2006/relationships/tags" Target="../tags/tag534.xml"/><Relationship Id="rId3" Type="http://schemas.openxmlformats.org/officeDocument/2006/relationships/tags" Target="../tags/tag5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79.xml.rels><?xml version='1.0' encoding='UTF-8' standalone='yes'?>
<Relationships xmlns="http://schemas.openxmlformats.org/package/2006/relationships"><Relationship Id="rId1" Type="http://schemas.openxmlformats.org/officeDocument/2006/relationships/tags" Target="../tags/tag536.xml"/><Relationship Id="rId2" Type="http://schemas.openxmlformats.org/officeDocument/2006/relationships/tags" Target="../tags/tag537.xml"/><Relationship Id="rId3" Type="http://schemas.openxmlformats.org/officeDocument/2006/relationships/tags" Target="../tags/tag5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tags" Target="../tags/tag54.xml"/><Relationship Id="rId3" Type="http://schemas.openxmlformats.org/officeDocument/2006/relationships/tags" Target="../tags/tag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0.xml.rels><?xml version='1.0' encoding='UTF-8' standalone='yes'?>
<Relationships xmlns="http://schemas.openxmlformats.org/package/2006/relationships"><Relationship Id="rId1" Type="http://schemas.openxmlformats.org/officeDocument/2006/relationships/tags" Target="../tags/tag539.xml"/><Relationship Id="rId2" Type="http://schemas.openxmlformats.org/officeDocument/2006/relationships/tags" Target="../tags/tag540.xml"/><Relationship Id="rId3" Type="http://schemas.openxmlformats.org/officeDocument/2006/relationships/tags" Target="../tags/tag5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1.xml.rels><?xml version='1.0' encoding='UTF-8' standalone='yes'?>
<Relationships xmlns="http://schemas.openxmlformats.org/package/2006/relationships"><Relationship Id="rId1" Type="http://schemas.openxmlformats.org/officeDocument/2006/relationships/tags" Target="../tags/tag542.xml"/><Relationship Id="rId2" Type="http://schemas.openxmlformats.org/officeDocument/2006/relationships/tags" Target="../tags/tag543.xml"/><Relationship Id="rId3" Type="http://schemas.openxmlformats.org/officeDocument/2006/relationships/tags" Target="../tags/tag5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2.xml.rels><?xml version='1.0' encoding='UTF-8' standalone='yes'?>
<Relationships xmlns="http://schemas.openxmlformats.org/package/2006/relationships"><Relationship Id="rId1" Type="http://schemas.openxmlformats.org/officeDocument/2006/relationships/tags" Target="../tags/tag545.xml"/><Relationship Id="rId2" Type="http://schemas.openxmlformats.org/officeDocument/2006/relationships/tags" Target="../tags/tag546.xml"/><Relationship Id="rId3" Type="http://schemas.openxmlformats.org/officeDocument/2006/relationships/tags" Target="../tags/tag5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3.xml.rels><?xml version='1.0' encoding='UTF-8' standalone='yes'?>
<Relationships xmlns="http://schemas.openxmlformats.org/package/2006/relationships"><Relationship Id="rId1" Type="http://schemas.openxmlformats.org/officeDocument/2006/relationships/tags" Target="../tags/tag548.xml"/><Relationship Id="rId2" Type="http://schemas.openxmlformats.org/officeDocument/2006/relationships/tags" Target="../tags/tag549.xml"/><Relationship Id="rId3" Type="http://schemas.openxmlformats.org/officeDocument/2006/relationships/tags" Target="../tags/tag5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4.xml.rels><?xml version='1.0' encoding='UTF-8' standalone='yes'?>
<Relationships xmlns="http://schemas.openxmlformats.org/package/2006/relationships"><Relationship Id="rId1" Type="http://schemas.openxmlformats.org/officeDocument/2006/relationships/tags" Target="../tags/tag551.xml"/><Relationship Id="rId2" Type="http://schemas.openxmlformats.org/officeDocument/2006/relationships/tags" Target="../tags/tag552.xml"/><Relationship Id="rId3" Type="http://schemas.openxmlformats.org/officeDocument/2006/relationships/tags" Target="../tags/tag5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5.xml.rels><?xml version='1.0' encoding='UTF-8' standalone='yes'?>
<Relationships xmlns="http://schemas.openxmlformats.org/package/2006/relationships"><Relationship Id="rId1" Type="http://schemas.openxmlformats.org/officeDocument/2006/relationships/tags" Target="../tags/tag554.xml"/><Relationship Id="rId2" Type="http://schemas.openxmlformats.org/officeDocument/2006/relationships/tags" Target="../tags/tag555.xml"/><Relationship Id="rId3" Type="http://schemas.openxmlformats.org/officeDocument/2006/relationships/tags" Target="../tags/tag5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6.xml.rels><?xml version='1.0' encoding='UTF-8' standalone='yes'?>
<Relationships xmlns="http://schemas.openxmlformats.org/package/2006/relationships"><Relationship Id="rId1" Type="http://schemas.openxmlformats.org/officeDocument/2006/relationships/tags" Target="../tags/tag557.xml"/><Relationship Id="rId2" Type="http://schemas.openxmlformats.org/officeDocument/2006/relationships/tags" Target="../tags/tag558.xml"/><Relationship Id="rId3" Type="http://schemas.openxmlformats.org/officeDocument/2006/relationships/tags" Target="../tags/tag5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7.xml.rels><?xml version='1.0' encoding='UTF-8' standalone='yes'?>
<Relationships xmlns="http://schemas.openxmlformats.org/package/2006/relationships"><Relationship Id="rId1" Type="http://schemas.openxmlformats.org/officeDocument/2006/relationships/tags" Target="../tags/tag560.xml"/><Relationship Id="rId2" Type="http://schemas.openxmlformats.org/officeDocument/2006/relationships/tags" Target="../tags/tag561.xml"/><Relationship Id="rId3" Type="http://schemas.openxmlformats.org/officeDocument/2006/relationships/tags" Target="../tags/tag5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8.xml.rels><?xml version='1.0' encoding='UTF-8' standalone='yes'?>
<Relationships xmlns="http://schemas.openxmlformats.org/package/2006/relationships"><Relationship Id="rId1" Type="http://schemas.openxmlformats.org/officeDocument/2006/relationships/tags" Target="../tags/tag563.xml"/><Relationship Id="rId2" Type="http://schemas.openxmlformats.org/officeDocument/2006/relationships/tags" Target="../tags/tag564.xml"/><Relationship Id="rId3" Type="http://schemas.openxmlformats.org/officeDocument/2006/relationships/tags" Target="../tags/tag5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89.xml.rels><?xml version='1.0' encoding='UTF-8' standalone='yes'?>
<Relationships xmlns="http://schemas.openxmlformats.org/package/2006/relationships"><Relationship Id="rId1" Type="http://schemas.openxmlformats.org/officeDocument/2006/relationships/tags" Target="../tags/tag566.xml"/><Relationship Id="rId2" Type="http://schemas.openxmlformats.org/officeDocument/2006/relationships/tags" Target="../tags/tag567.xml"/><Relationship Id="rId3" Type="http://schemas.openxmlformats.org/officeDocument/2006/relationships/tags" Target="../tags/tag5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tags" Target="../tags/tag57.xml"/><Relationship Id="rId3" Type="http://schemas.openxmlformats.org/officeDocument/2006/relationships/tags" Target="../tags/tag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0.xml.rels><?xml version='1.0' encoding='UTF-8' standalone='yes'?>
<Relationships xmlns="http://schemas.openxmlformats.org/package/2006/relationships"><Relationship Id="rId1" Type="http://schemas.openxmlformats.org/officeDocument/2006/relationships/tags" Target="../tags/tag569.xml"/><Relationship Id="rId2" Type="http://schemas.openxmlformats.org/officeDocument/2006/relationships/tags" Target="../tags/tag570.xml"/><Relationship Id="rId3" Type="http://schemas.openxmlformats.org/officeDocument/2006/relationships/tags" Target="../tags/tag5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1.xml.rels><?xml version='1.0' encoding='UTF-8' standalone='yes'?>
<Relationships xmlns="http://schemas.openxmlformats.org/package/2006/relationships"><Relationship Id="rId1" Type="http://schemas.openxmlformats.org/officeDocument/2006/relationships/tags" Target="../tags/tag572.xml"/><Relationship Id="rId2" Type="http://schemas.openxmlformats.org/officeDocument/2006/relationships/tags" Target="../tags/tag573.xml"/><Relationship Id="rId3" Type="http://schemas.openxmlformats.org/officeDocument/2006/relationships/tags" Target="../tags/tag5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2.xml.rels><?xml version='1.0' encoding='UTF-8' standalone='yes'?>
<Relationships xmlns="http://schemas.openxmlformats.org/package/2006/relationships"><Relationship Id="rId1" Type="http://schemas.openxmlformats.org/officeDocument/2006/relationships/tags" Target="../tags/tag575.xml"/><Relationship Id="rId2" Type="http://schemas.openxmlformats.org/officeDocument/2006/relationships/tags" Target="../tags/tag576.xml"/><Relationship Id="rId3" Type="http://schemas.openxmlformats.org/officeDocument/2006/relationships/tags" Target="../tags/tag5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3.xml.rels><?xml version='1.0' encoding='UTF-8' standalone='yes'?>
<Relationships xmlns="http://schemas.openxmlformats.org/package/2006/relationships"><Relationship Id="rId1" Type="http://schemas.openxmlformats.org/officeDocument/2006/relationships/tags" Target="../tags/tag578.xml"/><Relationship Id="rId2" Type="http://schemas.openxmlformats.org/officeDocument/2006/relationships/tags" Target="../tags/tag579.xml"/><Relationship Id="rId3" Type="http://schemas.openxmlformats.org/officeDocument/2006/relationships/tags" Target="../tags/tag5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4.xml.rels><?xml version='1.0' encoding='UTF-8' standalone='yes'?>
<Relationships xmlns="http://schemas.openxmlformats.org/package/2006/relationships"><Relationship Id="rId1" Type="http://schemas.openxmlformats.org/officeDocument/2006/relationships/tags" Target="../tags/tag581.xml"/><Relationship Id="rId2" Type="http://schemas.openxmlformats.org/officeDocument/2006/relationships/tags" Target="../tags/tag582.xml"/><Relationship Id="rId3" Type="http://schemas.openxmlformats.org/officeDocument/2006/relationships/tags" Target="../tags/tag5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5.xml.rels><?xml version='1.0' encoding='UTF-8' standalone='yes'?>
<Relationships xmlns="http://schemas.openxmlformats.org/package/2006/relationships"><Relationship Id="rId1" Type="http://schemas.openxmlformats.org/officeDocument/2006/relationships/tags" Target="../tags/tag584.xml"/><Relationship Id="rId2" Type="http://schemas.openxmlformats.org/officeDocument/2006/relationships/tags" Target="../tags/tag585.xml"/><Relationship Id="rId3" Type="http://schemas.openxmlformats.org/officeDocument/2006/relationships/tags" Target="../tags/tag5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6.xml.rels><?xml version='1.0' encoding='UTF-8' standalone='yes'?>
<Relationships xmlns="http://schemas.openxmlformats.org/package/2006/relationships"><Relationship Id="rId1" Type="http://schemas.openxmlformats.org/officeDocument/2006/relationships/tags" Target="../tags/tag587.xml"/><Relationship Id="rId2" Type="http://schemas.openxmlformats.org/officeDocument/2006/relationships/tags" Target="../tags/tag588.xml"/><Relationship Id="rId3" Type="http://schemas.openxmlformats.org/officeDocument/2006/relationships/tags" Target="../tags/tag5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7.xml.rels><?xml version='1.0' encoding='UTF-8' standalone='yes'?>
<Relationships xmlns="http://schemas.openxmlformats.org/package/2006/relationships"><Relationship Id="rId1" Type="http://schemas.openxmlformats.org/officeDocument/2006/relationships/tags" Target="../tags/tag590.xml"/><Relationship Id="rId2" Type="http://schemas.openxmlformats.org/officeDocument/2006/relationships/tags" Target="../tags/tag591.xml"/><Relationship Id="rId3" Type="http://schemas.openxmlformats.org/officeDocument/2006/relationships/tags" Target="../tags/tag5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8.xml.rels><?xml version='1.0' encoding='UTF-8' standalone='yes'?>
<Relationships xmlns="http://schemas.openxmlformats.org/package/2006/relationships"><Relationship Id="rId1" Type="http://schemas.openxmlformats.org/officeDocument/2006/relationships/tags" Target="../tags/tag593.xml"/><Relationship Id="rId2" Type="http://schemas.openxmlformats.org/officeDocument/2006/relationships/tags" Target="../tags/tag594.xml"/><Relationship Id="rId3" Type="http://schemas.openxmlformats.org/officeDocument/2006/relationships/tags" Target="../tags/tag5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199.xml.rels><?xml version='1.0' encoding='UTF-8' standalone='yes'?>
<Relationships xmlns="http://schemas.openxmlformats.org/package/2006/relationships"><Relationship Id="rId1" Type="http://schemas.openxmlformats.org/officeDocument/2006/relationships/tags" Target="../tags/tag596.xml"/><Relationship Id="rId2" Type="http://schemas.openxmlformats.org/officeDocument/2006/relationships/tags" Target="../tags/tag597.xml"/><Relationship Id="rId3" Type="http://schemas.openxmlformats.org/officeDocument/2006/relationships/tags" Target="../tags/tag5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Relationship Id="rId8" Type="http://schemas.openxmlformats.org/officeDocument/2006/relationships/chart" Target="../charts/chart1.xml"/><Relationship Id="rId9" Type="http://schemas.openxmlformats.org/officeDocument/2006/relationships/image" Target="../media/image9.png"/><Relationship Id="rId10" Type="http://schemas.openxmlformats.org/officeDocument/2006/relationships/image" Target="../media/image10.png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0.xml.rels><?xml version='1.0' encoding='UTF-8' standalone='yes'?>
<Relationships xmlns="http://schemas.openxmlformats.org/package/2006/relationships"><Relationship Id="rId1" Type="http://schemas.openxmlformats.org/officeDocument/2006/relationships/tags" Target="../tags/tag599.xml"/><Relationship Id="rId2" Type="http://schemas.openxmlformats.org/officeDocument/2006/relationships/tags" Target="../tags/tag600.xml"/><Relationship Id="rId3" Type="http://schemas.openxmlformats.org/officeDocument/2006/relationships/tags" Target="../tags/tag6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1.xml.rels><?xml version='1.0' encoding='UTF-8' standalone='yes'?>
<Relationships xmlns="http://schemas.openxmlformats.org/package/2006/relationships"><Relationship Id="rId1" Type="http://schemas.openxmlformats.org/officeDocument/2006/relationships/tags" Target="../tags/tag602.xml"/><Relationship Id="rId2" Type="http://schemas.openxmlformats.org/officeDocument/2006/relationships/tags" Target="../tags/tag603.xml"/><Relationship Id="rId3" Type="http://schemas.openxmlformats.org/officeDocument/2006/relationships/tags" Target="../tags/tag6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2.xml.rels><?xml version='1.0' encoding='UTF-8' standalone='yes'?>
<Relationships xmlns="http://schemas.openxmlformats.org/package/2006/relationships"><Relationship Id="rId1" Type="http://schemas.openxmlformats.org/officeDocument/2006/relationships/tags" Target="../tags/tag605.xml"/><Relationship Id="rId2" Type="http://schemas.openxmlformats.org/officeDocument/2006/relationships/tags" Target="../tags/tag606.xml"/><Relationship Id="rId3" Type="http://schemas.openxmlformats.org/officeDocument/2006/relationships/tags" Target="../tags/tag6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3.xml.rels><?xml version='1.0' encoding='UTF-8' standalone='yes'?>
<Relationships xmlns="http://schemas.openxmlformats.org/package/2006/relationships"><Relationship Id="rId1" Type="http://schemas.openxmlformats.org/officeDocument/2006/relationships/tags" Target="../tags/tag608.xml"/><Relationship Id="rId2" Type="http://schemas.openxmlformats.org/officeDocument/2006/relationships/tags" Target="../tags/tag609.xml"/><Relationship Id="rId3" Type="http://schemas.openxmlformats.org/officeDocument/2006/relationships/tags" Target="../tags/tag6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4.xml.rels><?xml version='1.0' encoding='UTF-8' standalone='yes'?>
<Relationships xmlns="http://schemas.openxmlformats.org/package/2006/relationships"><Relationship Id="rId1" Type="http://schemas.openxmlformats.org/officeDocument/2006/relationships/tags" Target="../tags/tag611.xml"/><Relationship Id="rId2" Type="http://schemas.openxmlformats.org/officeDocument/2006/relationships/tags" Target="../tags/tag612.xml"/><Relationship Id="rId3" Type="http://schemas.openxmlformats.org/officeDocument/2006/relationships/tags" Target="../tags/tag6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5.xml.rels><?xml version='1.0' encoding='UTF-8' standalone='yes'?>
<Relationships xmlns="http://schemas.openxmlformats.org/package/2006/relationships"><Relationship Id="rId1" Type="http://schemas.openxmlformats.org/officeDocument/2006/relationships/tags" Target="../tags/tag614.xml"/><Relationship Id="rId2" Type="http://schemas.openxmlformats.org/officeDocument/2006/relationships/tags" Target="../tags/tag615.xml"/><Relationship Id="rId3" Type="http://schemas.openxmlformats.org/officeDocument/2006/relationships/tags" Target="../tags/tag6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6.xml.rels><?xml version='1.0' encoding='UTF-8' standalone='yes'?>
<Relationships xmlns="http://schemas.openxmlformats.org/package/2006/relationships"><Relationship Id="rId1" Type="http://schemas.openxmlformats.org/officeDocument/2006/relationships/tags" Target="../tags/tag617.xml"/><Relationship Id="rId2" Type="http://schemas.openxmlformats.org/officeDocument/2006/relationships/tags" Target="../tags/tag618.xml"/><Relationship Id="rId3" Type="http://schemas.openxmlformats.org/officeDocument/2006/relationships/tags" Target="../tags/tag6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7.xml.rels><?xml version='1.0' encoding='UTF-8' standalone='yes'?>
<Relationships xmlns="http://schemas.openxmlformats.org/package/2006/relationships"><Relationship Id="rId1" Type="http://schemas.openxmlformats.org/officeDocument/2006/relationships/tags" Target="../tags/tag620.xml"/><Relationship Id="rId2" Type="http://schemas.openxmlformats.org/officeDocument/2006/relationships/tags" Target="../tags/tag621.xml"/><Relationship Id="rId3" Type="http://schemas.openxmlformats.org/officeDocument/2006/relationships/tags" Target="../tags/tag6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8.xml.rels><?xml version='1.0' encoding='UTF-8' standalone='yes'?>
<Relationships xmlns="http://schemas.openxmlformats.org/package/2006/relationships"><Relationship Id="rId1" Type="http://schemas.openxmlformats.org/officeDocument/2006/relationships/tags" Target="../tags/tag623.xml"/><Relationship Id="rId2" Type="http://schemas.openxmlformats.org/officeDocument/2006/relationships/tags" Target="../tags/tag624.xml"/><Relationship Id="rId3" Type="http://schemas.openxmlformats.org/officeDocument/2006/relationships/tags" Target="../tags/tag6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09.xml.rels><?xml version='1.0' encoding='UTF-8' standalone='yes'?>
<Relationships xmlns="http://schemas.openxmlformats.org/package/2006/relationships"><Relationship Id="rId1" Type="http://schemas.openxmlformats.org/officeDocument/2006/relationships/tags" Target="../tags/tag626.xml"/><Relationship Id="rId2" Type="http://schemas.openxmlformats.org/officeDocument/2006/relationships/tags" Target="../tags/tag627.xml"/><Relationship Id="rId3" Type="http://schemas.openxmlformats.org/officeDocument/2006/relationships/tags" Target="../tags/tag6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tags" Target="../tags/tag62.xml"/><Relationship Id="rId2" Type="http://schemas.openxmlformats.org/officeDocument/2006/relationships/tags" Target="../tags/tag63.xml"/><Relationship Id="rId3" Type="http://schemas.openxmlformats.org/officeDocument/2006/relationships/tags" Target="../tags/tag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0.xml.rels><?xml version='1.0' encoding='UTF-8' standalone='yes'?>
<Relationships xmlns="http://schemas.openxmlformats.org/package/2006/relationships"><Relationship Id="rId1" Type="http://schemas.openxmlformats.org/officeDocument/2006/relationships/tags" Target="../tags/tag629.xml"/><Relationship Id="rId2" Type="http://schemas.openxmlformats.org/officeDocument/2006/relationships/tags" Target="../tags/tag630.xml"/><Relationship Id="rId3" Type="http://schemas.openxmlformats.org/officeDocument/2006/relationships/tags" Target="../tags/tag6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1.xml.rels><?xml version='1.0' encoding='UTF-8' standalone='yes'?>
<Relationships xmlns="http://schemas.openxmlformats.org/package/2006/relationships"><Relationship Id="rId1" Type="http://schemas.openxmlformats.org/officeDocument/2006/relationships/tags" Target="../tags/tag632.xml"/><Relationship Id="rId2" Type="http://schemas.openxmlformats.org/officeDocument/2006/relationships/tags" Target="../tags/tag633.xml"/><Relationship Id="rId3" Type="http://schemas.openxmlformats.org/officeDocument/2006/relationships/tags" Target="../tags/tag63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2.xml.rels><?xml version='1.0' encoding='UTF-8' standalone='yes'?>
<Relationships xmlns="http://schemas.openxmlformats.org/package/2006/relationships"><Relationship Id="rId1" Type="http://schemas.openxmlformats.org/officeDocument/2006/relationships/tags" Target="../tags/tag635.xml"/><Relationship Id="rId2" Type="http://schemas.openxmlformats.org/officeDocument/2006/relationships/tags" Target="../tags/tag636.xml"/><Relationship Id="rId3" Type="http://schemas.openxmlformats.org/officeDocument/2006/relationships/tags" Target="../tags/tag63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3.xml.rels><?xml version='1.0' encoding='UTF-8' standalone='yes'?>
<Relationships xmlns="http://schemas.openxmlformats.org/package/2006/relationships"><Relationship Id="rId1" Type="http://schemas.openxmlformats.org/officeDocument/2006/relationships/tags" Target="../tags/tag638.xml"/><Relationship Id="rId2" Type="http://schemas.openxmlformats.org/officeDocument/2006/relationships/tags" Target="../tags/tag639.xml"/><Relationship Id="rId3" Type="http://schemas.openxmlformats.org/officeDocument/2006/relationships/tags" Target="../tags/tag64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4.xml.rels><?xml version='1.0' encoding='UTF-8' standalone='yes'?>
<Relationships xmlns="http://schemas.openxmlformats.org/package/2006/relationships"><Relationship Id="rId1" Type="http://schemas.openxmlformats.org/officeDocument/2006/relationships/tags" Target="../tags/tag641.xml"/><Relationship Id="rId2" Type="http://schemas.openxmlformats.org/officeDocument/2006/relationships/tags" Target="../tags/tag642.xml"/><Relationship Id="rId3" Type="http://schemas.openxmlformats.org/officeDocument/2006/relationships/tags" Target="../tags/tag64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5.xml.rels><?xml version='1.0' encoding='UTF-8' standalone='yes'?>
<Relationships xmlns="http://schemas.openxmlformats.org/package/2006/relationships"><Relationship Id="rId1" Type="http://schemas.openxmlformats.org/officeDocument/2006/relationships/tags" Target="../tags/tag644.xml"/><Relationship Id="rId2" Type="http://schemas.openxmlformats.org/officeDocument/2006/relationships/tags" Target="../tags/tag645.xml"/><Relationship Id="rId3" Type="http://schemas.openxmlformats.org/officeDocument/2006/relationships/tags" Target="../tags/tag64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6.xml.rels><?xml version='1.0' encoding='UTF-8' standalone='yes'?>
<Relationships xmlns="http://schemas.openxmlformats.org/package/2006/relationships"><Relationship Id="rId1" Type="http://schemas.openxmlformats.org/officeDocument/2006/relationships/tags" Target="../tags/tag647.xml"/><Relationship Id="rId2" Type="http://schemas.openxmlformats.org/officeDocument/2006/relationships/tags" Target="../tags/tag648.xml"/><Relationship Id="rId3" Type="http://schemas.openxmlformats.org/officeDocument/2006/relationships/tags" Target="../tags/tag64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7.xml.rels><?xml version='1.0' encoding='UTF-8' standalone='yes'?>
<Relationships xmlns="http://schemas.openxmlformats.org/package/2006/relationships"><Relationship Id="rId1" Type="http://schemas.openxmlformats.org/officeDocument/2006/relationships/tags" Target="../tags/tag650.xml"/><Relationship Id="rId2" Type="http://schemas.openxmlformats.org/officeDocument/2006/relationships/tags" Target="../tags/tag651.xml"/><Relationship Id="rId3" Type="http://schemas.openxmlformats.org/officeDocument/2006/relationships/tags" Target="../tags/tag65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8.xml.rels><?xml version='1.0' encoding='UTF-8' standalone='yes'?>
<Relationships xmlns="http://schemas.openxmlformats.org/package/2006/relationships"><Relationship Id="rId1" Type="http://schemas.openxmlformats.org/officeDocument/2006/relationships/tags" Target="../tags/tag653.xml"/><Relationship Id="rId2" Type="http://schemas.openxmlformats.org/officeDocument/2006/relationships/tags" Target="../tags/tag654.xml"/><Relationship Id="rId3" Type="http://schemas.openxmlformats.org/officeDocument/2006/relationships/tags" Target="../tags/tag65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19.xml.rels><?xml version='1.0' encoding='UTF-8' standalone='yes'?>
<Relationships xmlns="http://schemas.openxmlformats.org/package/2006/relationships"><Relationship Id="rId1" Type="http://schemas.openxmlformats.org/officeDocument/2006/relationships/tags" Target="../tags/tag656.xml"/><Relationship Id="rId2" Type="http://schemas.openxmlformats.org/officeDocument/2006/relationships/tags" Target="../tags/tag657.xml"/><Relationship Id="rId3" Type="http://schemas.openxmlformats.org/officeDocument/2006/relationships/tags" Target="../tags/tag65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tags" Target="../tags/tag66.xml"/><Relationship Id="rId3" Type="http://schemas.openxmlformats.org/officeDocument/2006/relationships/tags" Target="../tags/tag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0.xml.rels><?xml version='1.0' encoding='UTF-8' standalone='yes'?>
<Relationships xmlns="http://schemas.openxmlformats.org/package/2006/relationships"><Relationship Id="rId1" Type="http://schemas.openxmlformats.org/officeDocument/2006/relationships/tags" Target="../tags/tag659.xml"/><Relationship Id="rId2" Type="http://schemas.openxmlformats.org/officeDocument/2006/relationships/tags" Target="../tags/tag660.xml"/><Relationship Id="rId3" Type="http://schemas.openxmlformats.org/officeDocument/2006/relationships/tags" Target="../tags/tag66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1.xml.rels><?xml version='1.0' encoding='UTF-8' standalone='yes'?>
<Relationships xmlns="http://schemas.openxmlformats.org/package/2006/relationships"><Relationship Id="rId1" Type="http://schemas.openxmlformats.org/officeDocument/2006/relationships/tags" Target="../tags/tag662.xml"/><Relationship Id="rId2" Type="http://schemas.openxmlformats.org/officeDocument/2006/relationships/tags" Target="../tags/tag663.xml"/><Relationship Id="rId3" Type="http://schemas.openxmlformats.org/officeDocument/2006/relationships/tags" Target="../tags/tag66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2.xml.rels><?xml version='1.0' encoding='UTF-8' standalone='yes'?>
<Relationships xmlns="http://schemas.openxmlformats.org/package/2006/relationships"><Relationship Id="rId1" Type="http://schemas.openxmlformats.org/officeDocument/2006/relationships/tags" Target="../tags/tag665.xml"/><Relationship Id="rId2" Type="http://schemas.openxmlformats.org/officeDocument/2006/relationships/tags" Target="../tags/tag666.xml"/><Relationship Id="rId3" Type="http://schemas.openxmlformats.org/officeDocument/2006/relationships/tags" Target="../tags/tag66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3.xml.rels><?xml version='1.0' encoding='UTF-8' standalone='yes'?>
<Relationships xmlns="http://schemas.openxmlformats.org/package/2006/relationships"><Relationship Id="rId1" Type="http://schemas.openxmlformats.org/officeDocument/2006/relationships/tags" Target="../tags/tag668.xml"/><Relationship Id="rId2" Type="http://schemas.openxmlformats.org/officeDocument/2006/relationships/tags" Target="../tags/tag669.xml"/><Relationship Id="rId3" Type="http://schemas.openxmlformats.org/officeDocument/2006/relationships/tags" Target="../tags/tag6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4.xml.rels><?xml version='1.0' encoding='UTF-8' standalone='yes'?>
<Relationships xmlns="http://schemas.openxmlformats.org/package/2006/relationships"><Relationship Id="rId1" Type="http://schemas.openxmlformats.org/officeDocument/2006/relationships/tags" Target="../tags/tag671.xml"/><Relationship Id="rId2" Type="http://schemas.openxmlformats.org/officeDocument/2006/relationships/tags" Target="../tags/tag672.xml"/><Relationship Id="rId3" Type="http://schemas.openxmlformats.org/officeDocument/2006/relationships/tags" Target="../tags/tag6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5.xml.rels><?xml version='1.0' encoding='UTF-8' standalone='yes'?>
<Relationships xmlns="http://schemas.openxmlformats.org/package/2006/relationships"><Relationship Id="rId1" Type="http://schemas.openxmlformats.org/officeDocument/2006/relationships/tags" Target="../tags/tag674.xml"/><Relationship Id="rId2" Type="http://schemas.openxmlformats.org/officeDocument/2006/relationships/tags" Target="../tags/tag675.xml"/><Relationship Id="rId3" Type="http://schemas.openxmlformats.org/officeDocument/2006/relationships/tags" Target="../tags/tag6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6.xml.rels><?xml version='1.0' encoding='UTF-8' standalone='yes'?>
<Relationships xmlns="http://schemas.openxmlformats.org/package/2006/relationships"><Relationship Id="rId1" Type="http://schemas.openxmlformats.org/officeDocument/2006/relationships/tags" Target="../tags/tag677.xml"/><Relationship Id="rId2" Type="http://schemas.openxmlformats.org/officeDocument/2006/relationships/tags" Target="../tags/tag678.xml"/><Relationship Id="rId3" Type="http://schemas.openxmlformats.org/officeDocument/2006/relationships/tags" Target="../tags/tag6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7.xml.rels><?xml version='1.0' encoding='UTF-8' standalone='yes'?>
<Relationships xmlns="http://schemas.openxmlformats.org/package/2006/relationships"><Relationship Id="rId1" Type="http://schemas.openxmlformats.org/officeDocument/2006/relationships/tags" Target="../tags/tag680.xml"/><Relationship Id="rId2" Type="http://schemas.openxmlformats.org/officeDocument/2006/relationships/tags" Target="../tags/tag681.xml"/><Relationship Id="rId3" Type="http://schemas.openxmlformats.org/officeDocument/2006/relationships/tags" Target="../tags/tag6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8.xml.rels><?xml version='1.0' encoding='UTF-8' standalone='yes'?>
<Relationships xmlns="http://schemas.openxmlformats.org/package/2006/relationships"><Relationship Id="rId1" Type="http://schemas.openxmlformats.org/officeDocument/2006/relationships/tags" Target="../tags/tag683.xml"/><Relationship Id="rId2" Type="http://schemas.openxmlformats.org/officeDocument/2006/relationships/tags" Target="../tags/tag684.xml"/><Relationship Id="rId3" Type="http://schemas.openxmlformats.org/officeDocument/2006/relationships/tags" Target="../tags/tag6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29.xml.rels><?xml version='1.0' encoding='UTF-8' standalone='yes'?>
<Relationships xmlns="http://schemas.openxmlformats.org/package/2006/relationships"><Relationship Id="rId1" Type="http://schemas.openxmlformats.org/officeDocument/2006/relationships/tags" Target="../tags/tag686.xml"/><Relationship Id="rId2" Type="http://schemas.openxmlformats.org/officeDocument/2006/relationships/tags" Target="../tags/tag687.xml"/><Relationship Id="rId3" Type="http://schemas.openxmlformats.org/officeDocument/2006/relationships/tags" Target="../tags/tag6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.xml.rels><?xml version='1.0' encoding='UTF-8' standalone='yes'?>
<Relationships xmlns="http://schemas.openxmlformats.org/package/2006/relationships"><Relationship Id="rId1" Type="http://schemas.openxmlformats.org/officeDocument/2006/relationships/tags" Target="../tags/tag68.xml"/><Relationship Id="rId2" Type="http://schemas.openxmlformats.org/officeDocument/2006/relationships/tags" Target="../tags/tag69.xml"/><Relationship Id="rId3" Type="http://schemas.openxmlformats.org/officeDocument/2006/relationships/tags" Target="../tags/tag7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0.xml.rels><?xml version='1.0' encoding='UTF-8' standalone='yes'?>
<Relationships xmlns="http://schemas.openxmlformats.org/package/2006/relationships"><Relationship Id="rId1" Type="http://schemas.openxmlformats.org/officeDocument/2006/relationships/tags" Target="../tags/tag689.xml"/><Relationship Id="rId2" Type="http://schemas.openxmlformats.org/officeDocument/2006/relationships/tags" Target="../tags/tag690.xml"/><Relationship Id="rId3" Type="http://schemas.openxmlformats.org/officeDocument/2006/relationships/tags" Target="../tags/tag6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1.xml.rels><?xml version='1.0' encoding='UTF-8' standalone='yes'?>
<Relationships xmlns="http://schemas.openxmlformats.org/package/2006/relationships"><Relationship Id="rId1" Type="http://schemas.openxmlformats.org/officeDocument/2006/relationships/tags" Target="../tags/tag692.xml"/><Relationship Id="rId2" Type="http://schemas.openxmlformats.org/officeDocument/2006/relationships/tags" Target="../tags/tag693.xml"/><Relationship Id="rId3" Type="http://schemas.openxmlformats.org/officeDocument/2006/relationships/tags" Target="../tags/tag6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2.xml.rels><?xml version='1.0' encoding='UTF-8' standalone='yes'?>
<Relationships xmlns="http://schemas.openxmlformats.org/package/2006/relationships"><Relationship Id="rId1" Type="http://schemas.openxmlformats.org/officeDocument/2006/relationships/tags" Target="../tags/tag695.xml"/><Relationship Id="rId2" Type="http://schemas.openxmlformats.org/officeDocument/2006/relationships/tags" Target="../tags/tag696.xml"/><Relationship Id="rId3" Type="http://schemas.openxmlformats.org/officeDocument/2006/relationships/tags" Target="../tags/tag6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3.xml.rels><?xml version='1.0' encoding='UTF-8' standalone='yes'?>
<Relationships xmlns="http://schemas.openxmlformats.org/package/2006/relationships"><Relationship Id="rId1" Type="http://schemas.openxmlformats.org/officeDocument/2006/relationships/tags" Target="../tags/tag698.xml"/><Relationship Id="rId2" Type="http://schemas.openxmlformats.org/officeDocument/2006/relationships/tags" Target="../tags/tag699.xml"/><Relationship Id="rId3" Type="http://schemas.openxmlformats.org/officeDocument/2006/relationships/tags" Target="../tags/tag7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4.xml.rels><?xml version='1.0' encoding='UTF-8' standalone='yes'?>
<Relationships xmlns="http://schemas.openxmlformats.org/package/2006/relationships"><Relationship Id="rId1" Type="http://schemas.openxmlformats.org/officeDocument/2006/relationships/tags" Target="../tags/tag701.xml"/><Relationship Id="rId2" Type="http://schemas.openxmlformats.org/officeDocument/2006/relationships/tags" Target="../tags/tag702.xml"/><Relationship Id="rId3" Type="http://schemas.openxmlformats.org/officeDocument/2006/relationships/tags" Target="../tags/tag7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5.xml.rels><?xml version='1.0' encoding='UTF-8' standalone='yes'?>
<Relationships xmlns="http://schemas.openxmlformats.org/package/2006/relationships"><Relationship Id="rId1" Type="http://schemas.openxmlformats.org/officeDocument/2006/relationships/tags" Target="../tags/tag704.xml"/><Relationship Id="rId2" Type="http://schemas.openxmlformats.org/officeDocument/2006/relationships/tags" Target="../tags/tag705.xml"/><Relationship Id="rId3" Type="http://schemas.openxmlformats.org/officeDocument/2006/relationships/tags" Target="../tags/tag7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6.xml.rels><?xml version='1.0' encoding='UTF-8' standalone='yes'?>
<Relationships xmlns="http://schemas.openxmlformats.org/package/2006/relationships"><Relationship Id="rId1" Type="http://schemas.openxmlformats.org/officeDocument/2006/relationships/tags" Target="../tags/tag707.xml"/><Relationship Id="rId2" Type="http://schemas.openxmlformats.org/officeDocument/2006/relationships/tags" Target="../tags/tag708.xml"/><Relationship Id="rId3" Type="http://schemas.openxmlformats.org/officeDocument/2006/relationships/tags" Target="../tags/tag7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7.xml.rels><?xml version='1.0' encoding='UTF-8' standalone='yes'?>
<Relationships xmlns="http://schemas.openxmlformats.org/package/2006/relationships"><Relationship Id="rId1" Type="http://schemas.openxmlformats.org/officeDocument/2006/relationships/tags" Target="../tags/tag710.xml"/><Relationship Id="rId2" Type="http://schemas.openxmlformats.org/officeDocument/2006/relationships/tags" Target="../tags/tag711.xml"/><Relationship Id="rId3" Type="http://schemas.openxmlformats.org/officeDocument/2006/relationships/tags" Target="../tags/tag7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8.xml.rels><?xml version='1.0' encoding='UTF-8' standalone='yes'?>
<Relationships xmlns="http://schemas.openxmlformats.org/package/2006/relationships"><Relationship Id="rId1" Type="http://schemas.openxmlformats.org/officeDocument/2006/relationships/tags" Target="../tags/tag713.xml"/><Relationship Id="rId2" Type="http://schemas.openxmlformats.org/officeDocument/2006/relationships/tags" Target="../tags/tag714.xml"/><Relationship Id="rId3" Type="http://schemas.openxmlformats.org/officeDocument/2006/relationships/tags" Target="../tags/tag7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39.xml.rels><?xml version='1.0' encoding='UTF-8' standalone='yes'?>
<Relationships xmlns="http://schemas.openxmlformats.org/package/2006/relationships"><Relationship Id="rId1" Type="http://schemas.openxmlformats.org/officeDocument/2006/relationships/tags" Target="../tags/tag716.xml"/><Relationship Id="rId2" Type="http://schemas.openxmlformats.org/officeDocument/2006/relationships/tags" Target="../tags/tag717.xml"/><Relationship Id="rId3" Type="http://schemas.openxmlformats.org/officeDocument/2006/relationships/tags" Target="../tags/tag7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.xml.rels><?xml version='1.0' encoding='UTF-8' standalone='yes'?>
<Relationships xmlns="http://schemas.openxmlformats.org/package/2006/relationships"><Relationship Id="rId1" Type="http://schemas.openxmlformats.org/officeDocument/2006/relationships/tags" Target="../tags/tag71.xml"/><Relationship Id="rId2" Type="http://schemas.openxmlformats.org/officeDocument/2006/relationships/tags" Target="../tags/tag72.xml"/><Relationship Id="rId3" Type="http://schemas.openxmlformats.org/officeDocument/2006/relationships/tags" Target="../tags/tag7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0.xml.rels><?xml version='1.0' encoding='UTF-8' standalone='yes'?>
<Relationships xmlns="http://schemas.openxmlformats.org/package/2006/relationships"><Relationship Id="rId1" Type="http://schemas.openxmlformats.org/officeDocument/2006/relationships/tags" Target="../tags/tag719.xml"/><Relationship Id="rId2" Type="http://schemas.openxmlformats.org/officeDocument/2006/relationships/tags" Target="../tags/tag720.xml"/><Relationship Id="rId3" Type="http://schemas.openxmlformats.org/officeDocument/2006/relationships/tags" Target="../tags/tag7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1.xml.rels><?xml version='1.0' encoding='UTF-8' standalone='yes'?>
<Relationships xmlns="http://schemas.openxmlformats.org/package/2006/relationships"><Relationship Id="rId1" Type="http://schemas.openxmlformats.org/officeDocument/2006/relationships/tags" Target="../tags/tag722.xml"/><Relationship Id="rId2" Type="http://schemas.openxmlformats.org/officeDocument/2006/relationships/tags" Target="../tags/tag723.xml"/><Relationship Id="rId3" Type="http://schemas.openxmlformats.org/officeDocument/2006/relationships/tags" Target="../tags/tag7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2.xml.rels><?xml version='1.0' encoding='UTF-8' standalone='yes'?>
<Relationships xmlns="http://schemas.openxmlformats.org/package/2006/relationships"><Relationship Id="rId1" Type="http://schemas.openxmlformats.org/officeDocument/2006/relationships/tags" Target="../tags/tag725.xml"/><Relationship Id="rId2" Type="http://schemas.openxmlformats.org/officeDocument/2006/relationships/tags" Target="../tags/tag726.xml"/><Relationship Id="rId3" Type="http://schemas.openxmlformats.org/officeDocument/2006/relationships/tags" Target="../tags/tag7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3.xml.rels><?xml version='1.0' encoding='UTF-8' standalone='yes'?>
<Relationships xmlns="http://schemas.openxmlformats.org/package/2006/relationships"><Relationship Id="rId1" Type="http://schemas.openxmlformats.org/officeDocument/2006/relationships/tags" Target="../tags/tag728.xml"/><Relationship Id="rId2" Type="http://schemas.openxmlformats.org/officeDocument/2006/relationships/tags" Target="../tags/tag729.xml"/><Relationship Id="rId3" Type="http://schemas.openxmlformats.org/officeDocument/2006/relationships/tags" Target="../tags/tag7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4.xml.rels><?xml version='1.0' encoding='UTF-8' standalone='yes'?>
<Relationships xmlns="http://schemas.openxmlformats.org/package/2006/relationships"><Relationship Id="rId1" Type="http://schemas.openxmlformats.org/officeDocument/2006/relationships/tags" Target="../tags/tag731.xml"/><Relationship Id="rId2" Type="http://schemas.openxmlformats.org/officeDocument/2006/relationships/tags" Target="../tags/tag732.xml"/><Relationship Id="rId3" Type="http://schemas.openxmlformats.org/officeDocument/2006/relationships/tags" Target="../tags/tag7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5.xml.rels><?xml version='1.0' encoding='UTF-8' standalone='yes'?>
<Relationships xmlns="http://schemas.openxmlformats.org/package/2006/relationships"><Relationship Id="rId1" Type="http://schemas.openxmlformats.org/officeDocument/2006/relationships/tags" Target="../tags/tag734.xml"/><Relationship Id="rId2" Type="http://schemas.openxmlformats.org/officeDocument/2006/relationships/tags" Target="../tags/tag735.xml"/><Relationship Id="rId3" Type="http://schemas.openxmlformats.org/officeDocument/2006/relationships/tags" Target="../tags/tag7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6.xml.rels><?xml version='1.0' encoding='UTF-8' standalone='yes'?>
<Relationships xmlns="http://schemas.openxmlformats.org/package/2006/relationships"><Relationship Id="rId1" Type="http://schemas.openxmlformats.org/officeDocument/2006/relationships/tags" Target="../tags/tag737.xml"/><Relationship Id="rId2" Type="http://schemas.openxmlformats.org/officeDocument/2006/relationships/tags" Target="../tags/tag738.xml"/><Relationship Id="rId3" Type="http://schemas.openxmlformats.org/officeDocument/2006/relationships/tags" Target="../tags/tag7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7.xml.rels><?xml version='1.0' encoding='UTF-8' standalone='yes'?>
<Relationships xmlns="http://schemas.openxmlformats.org/package/2006/relationships"><Relationship Id="rId1" Type="http://schemas.openxmlformats.org/officeDocument/2006/relationships/tags" Target="../tags/tag740.xml"/><Relationship Id="rId2" Type="http://schemas.openxmlformats.org/officeDocument/2006/relationships/tags" Target="../tags/tag741.xml"/><Relationship Id="rId3" Type="http://schemas.openxmlformats.org/officeDocument/2006/relationships/tags" Target="../tags/tag7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8.xml.rels><?xml version='1.0' encoding='UTF-8' standalone='yes'?>
<Relationships xmlns="http://schemas.openxmlformats.org/package/2006/relationships"><Relationship Id="rId1" Type="http://schemas.openxmlformats.org/officeDocument/2006/relationships/tags" Target="../tags/tag743.xml"/><Relationship Id="rId2" Type="http://schemas.openxmlformats.org/officeDocument/2006/relationships/tags" Target="../tags/tag744.xml"/><Relationship Id="rId3" Type="http://schemas.openxmlformats.org/officeDocument/2006/relationships/tags" Target="../tags/tag7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49.xml.rels><?xml version='1.0' encoding='UTF-8' standalone='yes'?>
<Relationships xmlns="http://schemas.openxmlformats.org/package/2006/relationships"><Relationship Id="rId1" Type="http://schemas.openxmlformats.org/officeDocument/2006/relationships/tags" Target="../tags/tag746.xml"/><Relationship Id="rId2" Type="http://schemas.openxmlformats.org/officeDocument/2006/relationships/tags" Target="../tags/tag747.xml"/><Relationship Id="rId3" Type="http://schemas.openxmlformats.org/officeDocument/2006/relationships/tags" Target="../tags/tag7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.xml.rels><?xml version='1.0' encoding='UTF-8' standalone='yes'?>
<Relationships xmlns="http://schemas.openxmlformats.org/package/2006/relationships"><Relationship Id="rId1" Type="http://schemas.openxmlformats.org/officeDocument/2006/relationships/tags" Target="../tags/tag74.xml"/><Relationship Id="rId2" Type="http://schemas.openxmlformats.org/officeDocument/2006/relationships/tags" Target="../tags/tag75.xml"/><Relationship Id="rId3" Type="http://schemas.openxmlformats.org/officeDocument/2006/relationships/tags" Target="../tags/tag7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0.xml.rels><?xml version='1.0' encoding='UTF-8' standalone='yes'?>
<Relationships xmlns="http://schemas.openxmlformats.org/package/2006/relationships"><Relationship Id="rId1" Type="http://schemas.openxmlformats.org/officeDocument/2006/relationships/tags" Target="../tags/tag749.xml"/><Relationship Id="rId2" Type="http://schemas.openxmlformats.org/officeDocument/2006/relationships/tags" Target="../tags/tag750.xml"/><Relationship Id="rId3" Type="http://schemas.openxmlformats.org/officeDocument/2006/relationships/tags" Target="../tags/tag7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1.xml.rels><?xml version='1.0' encoding='UTF-8' standalone='yes'?>
<Relationships xmlns="http://schemas.openxmlformats.org/package/2006/relationships"><Relationship Id="rId1" Type="http://schemas.openxmlformats.org/officeDocument/2006/relationships/tags" Target="../tags/tag752.xml"/><Relationship Id="rId2" Type="http://schemas.openxmlformats.org/officeDocument/2006/relationships/tags" Target="../tags/tag753.xml"/><Relationship Id="rId3" Type="http://schemas.openxmlformats.org/officeDocument/2006/relationships/tags" Target="../tags/tag7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2.xml.rels><?xml version='1.0' encoding='UTF-8' standalone='yes'?>
<Relationships xmlns="http://schemas.openxmlformats.org/package/2006/relationships"><Relationship Id="rId1" Type="http://schemas.openxmlformats.org/officeDocument/2006/relationships/tags" Target="../tags/tag755.xml"/><Relationship Id="rId2" Type="http://schemas.openxmlformats.org/officeDocument/2006/relationships/tags" Target="../tags/tag756.xml"/><Relationship Id="rId3" Type="http://schemas.openxmlformats.org/officeDocument/2006/relationships/tags" Target="../tags/tag7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3.xml.rels><?xml version='1.0' encoding='UTF-8' standalone='yes'?>
<Relationships xmlns="http://schemas.openxmlformats.org/package/2006/relationships"><Relationship Id="rId1" Type="http://schemas.openxmlformats.org/officeDocument/2006/relationships/tags" Target="../tags/tag758.xml"/><Relationship Id="rId2" Type="http://schemas.openxmlformats.org/officeDocument/2006/relationships/tags" Target="../tags/tag759.xml"/><Relationship Id="rId3" Type="http://schemas.openxmlformats.org/officeDocument/2006/relationships/tags" Target="../tags/tag7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4.xml.rels><?xml version='1.0' encoding='UTF-8' standalone='yes'?>
<Relationships xmlns="http://schemas.openxmlformats.org/package/2006/relationships"><Relationship Id="rId1" Type="http://schemas.openxmlformats.org/officeDocument/2006/relationships/tags" Target="../tags/tag761.xml"/><Relationship Id="rId2" Type="http://schemas.openxmlformats.org/officeDocument/2006/relationships/tags" Target="../tags/tag762.xml"/><Relationship Id="rId3" Type="http://schemas.openxmlformats.org/officeDocument/2006/relationships/tags" Target="../tags/tag7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5.xml.rels><?xml version='1.0' encoding='UTF-8' standalone='yes'?>
<Relationships xmlns="http://schemas.openxmlformats.org/package/2006/relationships"><Relationship Id="rId1" Type="http://schemas.openxmlformats.org/officeDocument/2006/relationships/tags" Target="../tags/tag764.xml"/><Relationship Id="rId2" Type="http://schemas.openxmlformats.org/officeDocument/2006/relationships/tags" Target="../tags/tag765.xml"/><Relationship Id="rId3" Type="http://schemas.openxmlformats.org/officeDocument/2006/relationships/tags" Target="../tags/tag7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6.xml.rels><?xml version='1.0' encoding='UTF-8' standalone='yes'?>
<Relationships xmlns="http://schemas.openxmlformats.org/package/2006/relationships"><Relationship Id="rId1" Type="http://schemas.openxmlformats.org/officeDocument/2006/relationships/tags" Target="../tags/tag767.xml"/><Relationship Id="rId2" Type="http://schemas.openxmlformats.org/officeDocument/2006/relationships/tags" Target="../tags/tag768.xml"/><Relationship Id="rId3" Type="http://schemas.openxmlformats.org/officeDocument/2006/relationships/tags" Target="../tags/tag7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7.xml.rels><?xml version='1.0' encoding='UTF-8' standalone='yes'?>
<Relationships xmlns="http://schemas.openxmlformats.org/package/2006/relationships"><Relationship Id="rId1" Type="http://schemas.openxmlformats.org/officeDocument/2006/relationships/tags" Target="../tags/tag770.xml"/><Relationship Id="rId2" Type="http://schemas.openxmlformats.org/officeDocument/2006/relationships/tags" Target="../tags/tag771.xml"/><Relationship Id="rId3" Type="http://schemas.openxmlformats.org/officeDocument/2006/relationships/tags" Target="../tags/tag7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8.xml.rels><?xml version='1.0' encoding='UTF-8' standalone='yes'?>
<Relationships xmlns="http://schemas.openxmlformats.org/package/2006/relationships"><Relationship Id="rId1" Type="http://schemas.openxmlformats.org/officeDocument/2006/relationships/tags" Target="../tags/tag773.xml"/><Relationship Id="rId2" Type="http://schemas.openxmlformats.org/officeDocument/2006/relationships/tags" Target="../tags/tag774.xml"/><Relationship Id="rId3" Type="http://schemas.openxmlformats.org/officeDocument/2006/relationships/tags" Target="../tags/tag7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59.xml.rels><?xml version='1.0' encoding='UTF-8' standalone='yes'?>
<Relationships xmlns="http://schemas.openxmlformats.org/package/2006/relationships"><Relationship Id="rId1" Type="http://schemas.openxmlformats.org/officeDocument/2006/relationships/tags" Target="../tags/tag776.xml"/><Relationship Id="rId2" Type="http://schemas.openxmlformats.org/officeDocument/2006/relationships/tags" Target="../tags/tag777.xml"/><Relationship Id="rId3" Type="http://schemas.openxmlformats.org/officeDocument/2006/relationships/tags" Target="../tags/tag7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.xml.rels><?xml version='1.0' encoding='UTF-8' standalone='yes'?>
<Relationships xmlns="http://schemas.openxmlformats.org/package/2006/relationships"><Relationship Id="rId1" Type="http://schemas.openxmlformats.org/officeDocument/2006/relationships/tags" Target="../tags/tag77.xml"/><Relationship Id="rId2" Type="http://schemas.openxmlformats.org/officeDocument/2006/relationships/tags" Target="../tags/tag78.xml"/><Relationship Id="rId3" Type="http://schemas.openxmlformats.org/officeDocument/2006/relationships/tags" Target="../tags/tag7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0.xml.rels><?xml version='1.0' encoding='UTF-8' standalone='yes'?>
<Relationships xmlns="http://schemas.openxmlformats.org/package/2006/relationships"><Relationship Id="rId1" Type="http://schemas.openxmlformats.org/officeDocument/2006/relationships/tags" Target="../tags/tag779.xml"/><Relationship Id="rId2" Type="http://schemas.openxmlformats.org/officeDocument/2006/relationships/tags" Target="../tags/tag780.xml"/><Relationship Id="rId3" Type="http://schemas.openxmlformats.org/officeDocument/2006/relationships/tags" Target="../tags/tag7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1.xml.rels><?xml version='1.0' encoding='UTF-8' standalone='yes'?>
<Relationships xmlns="http://schemas.openxmlformats.org/package/2006/relationships"><Relationship Id="rId1" Type="http://schemas.openxmlformats.org/officeDocument/2006/relationships/tags" Target="../tags/tag782.xml"/><Relationship Id="rId2" Type="http://schemas.openxmlformats.org/officeDocument/2006/relationships/tags" Target="../tags/tag783.xml"/><Relationship Id="rId3" Type="http://schemas.openxmlformats.org/officeDocument/2006/relationships/tags" Target="../tags/tag7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2.xml.rels><?xml version='1.0' encoding='UTF-8' standalone='yes'?>
<Relationships xmlns="http://schemas.openxmlformats.org/package/2006/relationships"><Relationship Id="rId1" Type="http://schemas.openxmlformats.org/officeDocument/2006/relationships/tags" Target="../tags/tag785.xml"/><Relationship Id="rId2" Type="http://schemas.openxmlformats.org/officeDocument/2006/relationships/tags" Target="../tags/tag786.xml"/><Relationship Id="rId3" Type="http://schemas.openxmlformats.org/officeDocument/2006/relationships/tags" Target="../tags/tag7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3.xml.rels><?xml version='1.0' encoding='UTF-8' standalone='yes'?>
<Relationships xmlns="http://schemas.openxmlformats.org/package/2006/relationships"><Relationship Id="rId1" Type="http://schemas.openxmlformats.org/officeDocument/2006/relationships/tags" Target="../tags/tag788.xml"/><Relationship Id="rId2" Type="http://schemas.openxmlformats.org/officeDocument/2006/relationships/tags" Target="../tags/tag789.xml"/><Relationship Id="rId3" Type="http://schemas.openxmlformats.org/officeDocument/2006/relationships/tags" Target="../tags/tag7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4.xml.rels><?xml version='1.0' encoding='UTF-8' standalone='yes'?>
<Relationships xmlns="http://schemas.openxmlformats.org/package/2006/relationships"><Relationship Id="rId1" Type="http://schemas.openxmlformats.org/officeDocument/2006/relationships/tags" Target="../tags/tag791.xml"/><Relationship Id="rId2" Type="http://schemas.openxmlformats.org/officeDocument/2006/relationships/tags" Target="../tags/tag792.xml"/><Relationship Id="rId3" Type="http://schemas.openxmlformats.org/officeDocument/2006/relationships/tags" Target="../tags/tag7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5.xml.rels><?xml version='1.0' encoding='UTF-8' standalone='yes'?>
<Relationships xmlns="http://schemas.openxmlformats.org/package/2006/relationships"><Relationship Id="rId1" Type="http://schemas.openxmlformats.org/officeDocument/2006/relationships/tags" Target="../tags/tag794.xml"/><Relationship Id="rId2" Type="http://schemas.openxmlformats.org/officeDocument/2006/relationships/tags" Target="../tags/tag795.xml"/><Relationship Id="rId3" Type="http://schemas.openxmlformats.org/officeDocument/2006/relationships/tags" Target="../tags/tag7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6.xml.rels><?xml version='1.0' encoding='UTF-8' standalone='yes'?>
<Relationships xmlns="http://schemas.openxmlformats.org/package/2006/relationships"><Relationship Id="rId1" Type="http://schemas.openxmlformats.org/officeDocument/2006/relationships/tags" Target="../tags/tag797.xml"/><Relationship Id="rId2" Type="http://schemas.openxmlformats.org/officeDocument/2006/relationships/tags" Target="../tags/tag798.xml"/><Relationship Id="rId3" Type="http://schemas.openxmlformats.org/officeDocument/2006/relationships/tags" Target="../tags/tag7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7.xml.rels><?xml version='1.0' encoding='UTF-8' standalone='yes'?>
<Relationships xmlns="http://schemas.openxmlformats.org/package/2006/relationships"><Relationship Id="rId1" Type="http://schemas.openxmlformats.org/officeDocument/2006/relationships/tags" Target="../tags/tag800.xml"/><Relationship Id="rId2" Type="http://schemas.openxmlformats.org/officeDocument/2006/relationships/tags" Target="../tags/tag801.xml"/><Relationship Id="rId3" Type="http://schemas.openxmlformats.org/officeDocument/2006/relationships/tags" Target="../tags/tag8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8.xml.rels><?xml version='1.0' encoding='UTF-8' standalone='yes'?>
<Relationships xmlns="http://schemas.openxmlformats.org/package/2006/relationships"><Relationship Id="rId1" Type="http://schemas.openxmlformats.org/officeDocument/2006/relationships/tags" Target="../tags/tag803.xml"/><Relationship Id="rId2" Type="http://schemas.openxmlformats.org/officeDocument/2006/relationships/tags" Target="../tags/tag804.xml"/><Relationship Id="rId3" Type="http://schemas.openxmlformats.org/officeDocument/2006/relationships/tags" Target="../tags/tag8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69.xml.rels><?xml version='1.0' encoding='UTF-8' standalone='yes'?>
<Relationships xmlns="http://schemas.openxmlformats.org/package/2006/relationships"><Relationship Id="rId1" Type="http://schemas.openxmlformats.org/officeDocument/2006/relationships/tags" Target="../tags/tag806.xml"/><Relationship Id="rId2" Type="http://schemas.openxmlformats.org/officeDocument/2006/relationships/tags" Target="../tags/tag807.xml"/><Relationship Id="rId3" Type="http://schemas.openxmlformats.org/officeDocument/2006/relationships/tags" Target="../tags/tag8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0.xml.rels><?xml version='1.0' encoding='UTF-8' standalone='yes'?>
<Relationships xmlns="http://schemas.openxmlformats.org/package/2006/relationships"><Relationship Id="rId1" Type="http://schemas.openxmlformats.org/officeDocument/2006/relationships/tags" Target="../tags/tag809.xml"/><Relationship Id="rId2" Type="http://schemas.openxmlformats.org/officeDocument/2006/relationships/tags" Target="../tags/tag810.xml"/><Relationship Id="rId3" Type="http://schemas.openxmlformats.org/officeDocument/2006/relationships/tags" Target="../tags/tag8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1.xml.rels><?xml version='1.0' encoding='UTF-8' standalone='yes'?>
<Relationships xmlns="http://schemas.openxmlformats.org/package/2006/relationships"><Relationship Id="rId1" Type="http://schemas.openxmlformats.org/officeDocument/2006/relationships/tags" Target="../tags/tag812.xml"/><Relationship Id="rId2" Type="http://schemas.openxmlformats.org/officeDocument/2006/relationships/tags" Target="../tags/tag813.xml"/><Relationship Id="rId3" Type="http://schemas.openxmlformats.org/officeDocument/2006/relationships/tags" Target="../tags/tag8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2.xml.rels><?xml version='1.0' encoding='UTF-8' standalone='yes'?>
<Relationships xmlns="http://schemas.openxmlformats.org/package/2006/relationships"><Relationship Id="rId1" Type="http://schemas.openxmlformats.org/officeDocument/2006/relationships/tags" Target="../tags/tag815.xml"/><Relationship Id="rId2" Type="http://schemas.openxmlformats.org/officeDocument/2006/relationships/tags" Target="../tags/tag816.xml"/><Relationship Id="rId3" Type="http://schemas.openxmlformats.org/officeDocument/2006/relationships/tags" Target="../tags/tag8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3.xml.rels><?xml version='1.0' encoding='UTF-8' standalone='yes'?>
<Relationships xmlns="http://schemas.openxmlformats.org/package/2006/relationships"><Relationship Id="rId1" Type="http://schemas.openxmlformats.org/officeDocument/2006/relationships/tags" Target="../tags/tag818.xml"/><Relationship Id="rId2" Type="http://schemas.openxmlformats.org/officeDocument/2006/relationships/tags" Target="../tags/tag819.xml"/><Relationship Id="rId3" Type="http://schemas.openxmlformats.org/officeDocument/2006/relationships/tags" Target="../tags/tag8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4.xml.rels><?xml version='1.0' encoding='UTF-8' standalone='yes'?>
<Relationships xmlns="http://schemas.openxmlformats.org/package/2006/relationships"><Relationship Id="rId1" Type="http://schemas.openxmlformats.org/officeDocument/2006/relationships/tags" Target="../tags/tag821.xml"/><Relationship Id="rId2" Type="http://schemas.openxmlformats.org/officeDocument/2006/relationships/tags" Target="../tags/tag822.xml"/><Relationship Id="rId3" Type="http://schemas.openxmlformats.org/officeDocument/2006/relationships/tags" Target="../tags/tag8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5.xml.rels><?xml version='1.0' encoding='UTF-8' standalone='yes'?>
<Relationships xmlns="http://schemas.openxmlformats.org/package/2006/relationships"><Relationship Id="rId1" Type="http://schemas.openxmlformats.org/officeDocument/2006/relationships/tags" Target="../tags/tag824.xml"/><Relationship Id="rId2" Type="http://schemas.openxmlformats.org/officeDocument/2006/relationships/tags" Target="../tags/tag825.xml"/><Relationship Id="rId3" Type="http://schemas.openxmlformats.org/officeDocument/2006/relationships/tags" Target="../tags/tag8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6.xml.rels><?xml version='1.0' encoding='UTF-8' standalone='yes'?>
<Relationships xmlns="http://schemas.openxmlformats.org/package/2006/relationships"><Relationship Id="rId1" Type="http://schemas.openxmlformats.org/officeDocument/2006/relationships/tags" Target="../tags/tag827.xml"/><Relationship Id="rId2" Type="http://schemas.openxmlformats.org/officeDocument/2006/relationships/tags" Target="../tags/tag828.xml"/><Relationship Id="rId3" Type="http://schemas.openxmlformats.org/officeDocument/2006/relationships/tags" Target="../tags/tag8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7.xml.rels><?xml version='1.0' encoding='UTF-8' standalone='yes'?>
<Relationships xmlns="http://schemas.openxmlformats.org/package/2006/relationships"><Relationship Id="rId1" Type="http://schemas.openxmlformats.org/officeDocument/2006/relationships/tags" Target="../tags/tag830.xml"/><Relationship Id="rId2" Type="http://schemas.openxmlformats.org/officeDocument/2006/relationships/tags" Target="../tags/tag831.xml"/><Relationship Id="rId3" Type="http://schemas.openxmlformats.org/officeDocument/2006/relationships/tags" Target="../tags/tag8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8.xml.rels><?xml version='1.0' encoding='UTF-8' standalone='yes'?>
<Relationships xmlns="http://schemas.openxmlformats.org/package/2006/relationships"><Relationship Id="rId1" Type="http://schemas.openxmlformats.org/officeDocument/2006/relationships/tags" Target="../tags/tag833.xml"/><Relationship Id="rId2" Type="http://schemas.openxmlformats.org/officeDocument/2006/relationships/tags" Target="../tags/tag834.xml"/><Relationship Id="rId3" Type="http://schemas.openxmlformats.org/officeDocument/2006/relationships/tags" Target="../tags/tag8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79.xml.rels><?xml version='1.0' encoding='UTF-8' standalone='yes'?>
<Relationships xmlns="http://schemas.openxmlformats.org/package/2006/relationships"><Relationship Id="rId1" Type="http://schemas.openxmlformats.org/officeDocument/2006/relationships/tags" Target="../tags/tag836.xml"/><Relationship Id="rId2" Type="http://schemas.openxmlformats.org/officeDocument/2006/relationships/tags" Target="../tags/tag837.xml"/><Relationship Id="rId3" Type="http://schemas.openxmlformats.org/officeDocument/2006/relationships/tags" Target="../tags/tag8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.xml.rels><?xml version='1.0' encoding='UTF-8' standalone='yes'?>
<Relationships xmlns="http://schemas.openxmlformats.org/package/2006/relationships"><Relationship Id="rId1" Type="http://schemas.openxmlformats.org/officeDocument/2006/relationships/tags" Target="../tags/tag83.xml"/><Relationship Id="rId2" Type="http://schemas.openxmlformats.org/officeDocument/2006/relationships/tags" Target="../tags/tag84.xml"/><Relationship Id="rId3" Type="http://schemas.openxmlformats.org/officeDocument/2006/relationships/tags" Target="../tags/tag8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0.xml.rels><?xml version='1.0' encoding='UTF-8' standalone='yes'?>
<Relationships xmlns="http://schemas.openxmlformats.org/package/2006/relationships"><Relationship Id="rId1" Type="http://schemas.openxmlformats.org/officeDocument/2006/relationships/tags" Target="../tags/tag839.xml"/><Relationship Id="rId2" Type="http://schemas.openxmlformats.org/officeDocument/2006/relationships/tags" Target="../tags/tag840.xml"/><Relationship Id="rId3" Type="http://schemas.openxmlformats.org/officeDocument/2006/relationships/tags" Target="../tags/tag8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1.xml.rels><?xml version='1.0' encoding='UTF-8' standalone='yes'?>
<Relationships xmlns="http://schemas.openxmlformats.org/package/2006/relationships"><Relationship Id="rId1" Type="http://schemas.openxmlformats.org/officeDocument/2006/relationships/tags" Target="../tags/tag842.xml"/><Relationship Id="rId2" Type="http://schemas.openxmlformats.org/officeDocument/2006/relationships/tags" Target="../tags/tag843.xml"/><Relationship Id="rId3" Type="http://schemas.openxmlformats.org/officeDocument/2006/relationships/tags" Target="../tags/tag8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2.xml.rels><?xml version='1.0' encoding='UTF-8' standalone='yes'?>
<Relationships xmlns="http://schemas.openxmlformats.org/package/2006/relationships"><Relationship Id="rId1" Type="http://schemas.openxmlformats.org/officeDocument/2006/relationships/tags" Target="../tags/tag845.xml"/><Relationship Id="rId2" Type="http://schemas.openxmlformats.org/officeDocument/2006/relationships/tags" Target="../tags/tag846.xml"/><Relationship Id="rId3" Type="http://schemas.openxmlformats.org/officeDocument/2006/relationships/tags" Target="../tags/tag8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3.xml.rels><?xml version='1.0' encoding='UTF-8' standalone='yes'?>
<Relationships xmlns="http://schemas.openxmlformats.org/package/2006/relationships"><Relationship Id="rId1" Type="http://schemas.openxmlformats.org/officeDocument/2006/relationships/tags" Target="../tags/tag848.xml"/><Relationship Id="rId2" Type="http://schemas.openxmlformats.org/officeDocument/2006/relationships/tags" Target="../tags/tag849.xml"/><Relationship Id="rId3" Type="http://schemas.openxmlformats.org/officeDocument/2006/relationships/tags" Target="../tags/tag8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4.xml.rels><?xml version='1.0' encoding='UTF-8' standalone='yes'?>
<Relationships xmlns="http://schemas.openxmlformats.org/package/2006/relationships"><Relationship Id="rId1" Type="http://schemas.openxmlformats.org/officeDocument/2006/relationships/tags" Target="../tags/tag851.xml"/><Relationship Id="rId2" Type="http://schemas.openxmlformats.org/officeDocument/2006/relationships/tags" Target="../tags/tag852.xml"/><Relationship Id="rId3" Type="http://schemas.openxmlformats.org/officeDocument/2006/relationships/tags" Target="../tags/tag8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5.xml.rels><?xml version='1.0' encoding='UTF-8' standalone='yes'?>
<Relationships xmlns="http://schemas.openxmlformats.org/package/2006/relationships"><Relationship Id="rId1" Type="http://schemas.openxmlformats.org/officeDocument/2006/relationships/tags" Target="../tags/tag854.xml"/><Relationship Id="rId2" Type="http://schemas.openxmlformats.org/officeDocument/2006/relationships/tags" Target="../tags/tag855.xml"/><Relationship Id="rId3" Type="http://schemas.openxmlformats.org/officeDocument/2006/relationships/tags" Target="../tags/tag8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6.xml.rels><?xml version='1.0' encoding='UTF-8' standalone='yes'?>
<Relationships xmlns="http://schemas.openxmlformats.org/package/2006/relationships"><Relationship Id="rId1" Type="http://schemas.openxmlformats.org/officeDocument/2006/relationships/tags" Target="../tags/tag857.xml"/><Relationship Id="rId2" Type="http://schemas.openxmlformats.org/officeDocument/2006/relationships/tags" Target="../tags/tag858.xml"/><Relationship Id="rId3" Type="http://schemas.openxmlformats.org/officeDocument/2006/relationships/tags" Target="../tags/tag8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7.xml.rels><?xml version='1.0' encoding='UTF-8' standalone='yes'?>
<Relationships xmlns="http://schemas.openxmlformats.org/package/2006/relationships"><Relationship Id="rId1" Type="http://schemas.openxmlformats.org/officeDocument/2006/relationships/tags" Target="../tags/tag860.xml"/><Relationship Id="rId2" Type="http://schemas.openxmlformats.org/officeDocument/2006/relationships/tags" Target="../tags/tag861.xml"/><Relationship Id="rId3" Type="http://schemas.openxmlformats.org/officeDocument/2006/relationships/tags" Target="../tags/tag8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8.xml.rels><?xml version='1.0' encoding='UTF-8' standalone='yes'?>
<Relationships xmlns="http://schemas.openxmlformats.org/package/2006/relationships"><Relationship Id="rId1" Type="http://schemas.openxmlformats.org/officeDocument/2006/relationships/tags" Target="../tags/tag863.xml"/><Relationship Id="rId2" Type="http://schemas.openxmlformats.org/officeDocument/2006/relationships/tags" Target="../tags/tag864.xml"/><Relationship Id="rId3" Type="http://schemas.openxmlformats.org/officeDocument/2006/relationships/tags" Target="../tags/tag8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89.xml.rels><?xml version='1.0' encoding='UTF-8' standalone='yes'?>
<Relationships xmlns="http://schemas.openxmlformats.org/package/2006/relationships"><Relationship Id="rId1" Type="http://schemas.openxmlformats.org/officeDocument/2006/relationships/tags" Target="../tags/tag866.xml"/><Relationship Id="rId2" Type="http://schemas.openxmlformats.org/officeDocument/2006/relationships/tags" Target="../tags/tag867.xml"/><Relationship Id="rId3" Type="http://schemas.openxmlformats.org/officeDocument/2006/relationships/tags" Target="../tags/tag8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.xml.rels><?xml version='1.0' encoding='UTF-8' standalone='yes'?>
<Relationships xmlns="http://schemas.openxmlformats.org/package/2006/relationships"><Relationship Id="rId1" Type="http://schemas.openxmlformats.org/officeDocument/2006/relationships/tags" Target="../tags/tag86.xml"/><Relationship Id="rId2" Type="http://schemas.openxmlformats.org/officeDocument/2006/relationships/tags" Target="../tags/tag87.xml"/><Relationship Id="rId3" Type="http://schemas.openxmlformats.org/officeDocument/2006/relationships/tags" Target="../tags/tag8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0.xml.rels><?xml version='1.0' encoding='UTF-8' standalone='yes'?>
<Relationships xmlns="http://schemas.openxmlformats.org/package/2006/relationships"><Relationship Id="rId1" Type="http://schemas.openxmlformats.org/officeDocument/2006/relationships/tags" Target="../tags/tag869.xml"/><Relationship Id="rId2" Type="http://schemas.openxmlformats.org/officeDocument/2006/relationships/tags" Target="../tags/tag870.xml"/><Relationship Id="rId3" Type="http://schemas.openxmlformats.org/officeDocument/2006/relationships/tags" Target="../tags/tag8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1.xml.rels><?xml version='1.0' encoding='UTF-8' standalone='yes'?>
<Relationships xmlns="http://schemas.openxmlformats.org/package/2006/relationships"><Relationship Id="rId1" Type="http://schemas.openxmlformats.org/officeDocument/2006/relationships/tags" Target="../tags/tag872.xml"/><Relationship Id="rId2" Type="http://schemas.openxmlformats.org/officeDocument/2006/relationships/tags" Target="../tags/tag873.xml"/><Relationship Id="rId3" Type="http://schemas.openxmlformats.org/officeDocument/2006/relationships/tags" Target="../tags/tag8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2.xml.rels><?xml version='1.0' encoding='UTF-8' standalone='yes'?>
<Relationships xmlns="http://schemas.openxmlformats.org/package/2006/relationships"><Relationship Id="rId1" Type="http://schemas.openxmlformats.org/officeDocument/2006/relationships/tags" Target="../tags/tag875.xml"/><Relationship Id="rId2" Type="http://schemas.openxmlformats.org/officeDocument/2006/relationships/tags" Target="../tags/tag876.xml"/><Relationship Id="rId3" Type="http://schemas.openxmlformats.org/officeDocument/2006/relationships/tags" Target="../tags/tag8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3.xml.rels><?xml version='1.0' encoding='UTF-8' standalone='yes'?>
<Relationships xmlns="http://schemas.openxmlformats.org/package/2006/relationships"><Relationship Id="rId1" Type="http://schemas.openxmlformats.org/officeDocument/2006/relationships/tags" Target="../tags/tag878.xml"/><Relationship Id="rId2" Type="http://schemas.openxmlformats.org/officeDocument/2006/relationships/tags" Target="../tags/tag879.xml"/><Relationship Id="rId3" Type="http://schemas.openxmlformats.org/officeDocument/2006/relationships/tags" Target="../tags/tag8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4.xml.rels><?xml version='1.0' encoding='UTF-8' standalone='yes'?>
<Relationships xmlns="http://schemas.openxmlformats.org/package/2006/relationships"><Relationship Id="rId1" Type="http://schemas.openxmlformats.org/officeDocument/2006/relationships/tags" Target="../tags/tag881.xml"/><Relationship Id="rId2" Type="http://schemas.openxmlformats.org/officeDocument/2006/relationships/tags" Target="../tags/tag882.xml"/><Relationship Id="rId3" Type="http://schemas.openxmlformats.org/officeDocument/2006/relationships/tags" Target="../tags/tag8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5.xml.rels><?xml version='1.0' encoding='UTF-8' standalone='yes'?>
<Relationships xmlns="http://schemas.openxmlformats.org/package/2006/relationships"><Relationship Id="rId1" Type="http://schemas.openxmlformats.org/officeDocument/2006/relationships/tags" Target="../tags/tag884.xml"/><Relationship Id="rId2" Type="http://schemas.openxmlformats.org/officeDocument/2006/relationships/tags" Target="../tags/tag885.xml"/><Relationship Id="rId3" Type="http://schemas.openxmlformats.org/officeDocument/2006/relationships/tags" Target="../tags/tag8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6.xml.rels><?xml version='1.0' encoding='UTF-8' standalone='yes'?>
<Relationships xmlns="http://schemas.openxmlformats.org/package/2006/relationships"><Relationship Id="rId1" Type="http://schemas.openxmlformats.org/officeDocument/2006/relationships/tags" Target="../tags/tag887.xml"/><Relationship Id="rId2" Type="http://schemas.openxmlformats.org/officeDocument/2006/relationships/tags" Target="../tags/tag888.xml"/><Relationship Id="rId3" Type="http://schemas.openxmlformats.org/officeDocument/2006/relationships/tags" Target="../tags/tag8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7.xml.rels><?xml version='1.0' encoding='UTF-8' standalone='yes'?>
<Relationships xmlns="http://schemas.openxmlformats.org/package/2006/relationships"><Relationship Id="rId1" Type="http://schemas.openxmlformats.org/officeDocument/2006/relationships/tags" Target="../tags/tag890.xml"/><Relationship Id="rId2" Type="http://schemas.openxmlformats.org/officeDocument/2006/relationships/tags" Target="../tags/tag891.xml"/><Relationship Id="rId3" Type="http://schemas.openxmlformats.org/officeDocument/2006/relationships/tags" Target="../tags/tag8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8.xml.rels><?xml version='1.0' encoding='UTF-8' standalone='yes'?>
<Relationships xmlns="http://schemas.openxmlformats.org/package/2006/relationships"><Relationship Id="rId1" Type="http://schemas.openxmlformats.org/officeDocument/2006/relationships/tags" Target="../tags/tag893.xml"/><Relationship Id="rId2" Type="http://schemas.openxmlformats.org/officeDocument/2006/relationships/tags" Target="../tags/tag894.xml"/><Relationship Id="rId3" Type="http://schemas.openxmlformats.org/officeDocument/2006/relationships/tags" Target="../tags/tag8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299.xml.rels><?xml version='1.0' encoding='UTF-8' standalone='yes'?>
<Relationships xmlns="http://schemas.openxmlformats.org/package/2006/relationships"><Relationship Id="rId1" Type="http://schemas.openxmlformats.org/officeDocument/2006/relationships/tags" Target="../tags/tag896.xml"/><Relationship Id="rId2" Type="http://schemas.openxmlformats.org/officeDocument/2006/relationships/tags" Target="../tags/tag897.xml"/><Relationship Id="rId3" Type="http://schemas.openxmlformats.org/officeDocument/2006/relationships/tags" Target="../tags/tag8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.xml.rels><?xml version='1.0' encoding='UTF-8' standalone='yes'?>
<Relationships xmlns="http://schemas.openxmlformats.org/package/2006/relationships"><Relationship Id="rId1" Type="http://schemas.openxmlformats.org/officeDocument/2006/relationships/tags" Target="../tags/tag89.xml"/><Relationship Id="rId2" Type="http://schemas.openxmlformats.org/officeDocument/2006/relationships/tags" Target="../tags/tag90.xml"/><Relationship Id="rId3" Type="http://schemas.openxmlformats.org/officeDocument/2006/relationships/tags" Target="../tags/tag9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0.xml.rels><?xml version='1.0' encoding='UTF-8' standalone='yes'?>
<Relationships xmlns="http://schemas.openxmlformats.org/package/2006/relationships"><Relationship Id="rId1" Type="http://schemas.openxmlformats.org/officeDocument/2006/relationships/tags" Target="../tags/tag899.xml"/><Relationship Id="rId2" Type="http://schemas.openxmlformats.org/officeDocument/2006/relationships/tags" Target="../tags/tag900.xml"/><Relationship Id="rId3" Type="http://schemas.openxmlformats.org/officeDocument/2006/relationships/tags" Target="../tags/tag90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1.xml.rels><?xml version='1.0' encoding='UTF-8' standalone='yes'?>
<Relationships xmlns="http://schemas.openxmlformats.org/package/2006/relationships"><Relationship Id="rId1" Type="http://schemas.openxmlformats.org/officeDocument/2006/relationships/tags" Target="../tags/tag902.xml"/><Relationship Id="rId2" Type="http://schemas.openxmlformats.org/officeDocument/2006/relationships/tags" Target="../tags/tag903.xml"/><Relationship Id="rId3" Type="http://schemas.openxmlformats.org/officeDocument/2006/relationships/tags" Target="../tags/tag90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2.xml.rels><?xml version='1.0' encoding='UTF-8' standalone='yes'?>
<Relationships xmlns="http://schemas.openxmlformats.org/package/2006/relationships"><Relationship Id="rId1" Type="http://schemas.openxmlformats.org/officeDocument/2006/relationships/tags" Target="../tags/tag905.xml"/><Relationship Id="rId2" Type="http://schemas.openxmlformats.org/officeDocument/2006/relationships/tags" Target="../tags/tag906.xml"/><Relationship Id="rId3" Type="http://schemas.openxmlformats.org/officeDocument/2006/relationships/tags" Target="../tags/tag90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3.xml.rels><?xml version='1.0' encoding='UTF-8' standalone='yes'?>
<Relationships xmlns="http://schemas.openxmlformats.org/package/2006/relationships"><Relationship Id="rId1" Type="http://schemas.openxmlformats.org/officeDocument/2006/relationships/tags" Target="../tags/tag908.xml"/><Relationship Id="rId2" Type="http://schemas.openxmlformats.org/officeDocument/2006/relationships/tags" Target="../tags/tag909.xml"/><Relationship Id="rId3" Type="http://schemas.openxmlformats.org/officeDocument/2006/relationships/tags" Target="../tags/tag91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4.xml.rels><?xml version='1.0' encoding='UTF-8' standalone='yes'?>
<Relationships xmlns="http://schemas.openxmlformats.org/package/2006/relationships"><Relationship Id="rId1" Type="http://schemas.openxmlformats.org/officeDocument/2006/relationships/tags" Target="../tags/tag911.xml"/><Relationship Id="rId2" Type="http://schemas.openxmlformats.org/officeDocument/2006/relationships/tags" Target="../tags/tag912.xml"/><Relationship Id="rId3" Type="http://schemas.openxmlformats.org/officeDocument/2006/relationships/tags" Target="../tags/tag9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05.xml.rels><?xml version='1.0' encoding='UTF-8' standalone='yes'?>
<Relationships xmlns="http://schemas.openxmlformats.org/package/2006/relationships"><Relationship Id="rId1" Type="http://schemas.openxmlformats.org/officeDocument/2006/relationships/tags" Target="../tags/tag914.xml"/><Relationship Id="rId2" Type="http://schemas.openxmlformats.org/officeDocument/2006/relationships/tags" Target="../tags/tag915.xml"/><Relationship Id="rId3" Type="http://schemas.openxmlformats.org/officeDocument/2006/relationships/tags" Target="../tags/tag9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1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2.xml.rels><?xml version='1.0' encoding='UTF-8' standalone='yes'?>
<Relationships xmlns="http://schemas.openxmlformats.org/package/2006/relationships"><Relationship Id="rId1" Type="http://schemas.openxmlformats.org/officeDocument/2006/relationships/tags" Target="../tags/tag95.xml"/><Relationship Id="rId2" Type="http://schemas.openxmlformats.org/officeDocument/2006/relationships/tags" Target="../tags/tag96.xml"/><Relationship Id="rId3" Type="http://schemas.openxmlformats.org/officeDocument/2006/relationships/tags" Target="../tags/tag9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3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4.xml.rels><?xml version='1.0' encoding='UTF-8' standalone='yes'?>
<Relationships xmlns="http://schemas.openxmlformats.org/package/2006/relationships"><Relationship Id="rId1" Type="http://schemas.openxmlformats.org/officeDocument/2006/relationships/tags" Target="../tags/tag101.xml"/><Relationship Id="rId2" Type="http://schemas.openxmlformats.org/officeDocument/2006/relationships/tags" Target="../tags/tag102.xml"/><Relationship Id="rId3" Type="http://schemas.openxmlformats.org/officeDocument/2006/relationships/tags" Target="../tags/tag10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5.xml.rels><?xml version='1.0' encoding='UTF-8' standalone='yes'?>
<Relationships xmlns="http://schemas.openxmlformats.org/package/2006/relationships"><Relationship Id="rId1" Type="http://schemas.openxmlformats.org/officeDocument/2006/relationships/tags" Target="../tags/tag104.xml"/><Relationship Id="rId2" Type="http://schemas.openxmlformats.org/officeDocument/2006/relationships/tags" Target="../tags/tag105.xml"/><Relationship Id="rId3" Type="http://schemas.openxmlformats.org/officeDocument/2006/relationships/tags" Target="../tags/tag10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6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tags" Target="../tags/tag10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7.xml.rels><?xml version='1.0' encoding='UTF-8' standalone='yes'?>
<Relationships xmlns="http://schemas.openxmlformats.org/package/2006/relationships"><Relationship Id="rId1" Type="http://schemas.openxmlformats.org/officeDocument/2006/relationships/tags" Target="../tags/tag110.xml"/><Relationship Id="rId2" Type="http://schemas.openxmlformats.org/officeDocument/2006/relationships/tags" Target="../tags/tag111.xml"/><Relationship Id="rId3" Type="http://schemas.openxmlformats.org/officeDocument/2006/relationships/tags" Target="../tags/tag11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8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tags" Target="../tags/tag11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39.xml.rels><?xml version='1.0' encoding='UTF-8' standalone='yes'?>
<Relationships xmlns="http://schemas.openxmlformats.org/package/2006/relationships"><Relationship Id="rId1" Type="http://schemas.openxmlformats.org/officeDocument/2006/relationships/tags" Target="../tags/tag116.xml"/><Relationship Id="rId2" Type="http://schemas.openxmlformats.org/officeDocument/2006/relationships/tags" Target="../tags/tag117.xml"/><Relationship Id="rId3" Type="http://schemas.openxmlformats.org/officeDocument/2006/relationships/tags" Target="../tags/tag11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0.xml.rels><?xml version='1.0' encoding='UTF-8' standalone='yes'?>
<Relationships xmlns="http://schemas.openxmlformats.org/package/2006/relationships"><Relationship Id="rId1" Type="http://schemas.openxmlformats.org/officeDocument/2006/relationships/tags" Target="../tags/tag119.xml"/><Relationship Id="rId2" Type="http://schemas.openxmlformats.org/officeDocument/2006/relationships/tags" Target="../tags/tag120.xml"/><Relationship Id="rId3" Type="http://schemas.openxmlformats.org/officeDocument/2006/relationships/tags" Target="../tags/tag12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1.xml.rels><?xml version='1.0' encoding='UTF-8' standalone='yes'?>
<Relationships xmlns="http://schemas.openxmlformats.org/package/2006/relationships"><Relationship Id="rId1" Type="http://schemas.openxmlformats.org/officeDocument/2006/relationships/tags" Target="../tags/tag122.xml"/><Relationship Id="rId2" Type="http://schemas.openxmlformats.org/officeDocument/2006/relationships/tags" Target="../tags/tag123.xml"/><Relationship Id="rId3" Type="http://schemas.openxmlformats.org/officeDocument/2006/relationships/tags" Target="../tags/tag12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2.xml.rels><?xml version='1.0' encoding='UTF-8' standalone='yes'?>
<Relationships xmlns="http://schemas.openxmlformats.org/package/2006/relationships"><Relationship Id="rId1" Type="http://schemas.openxmlformats.org/officeDocument/2006/relationships/tags" Target="../tags/tag125.xml"/><Relationship Id="rId2" Type="http://schemas.openxmlformats.org/officeDocument/2006/relationships/tags" Target="../tags/tag126.xml"/><Relationship Id="rId3" Type="http://schemas.openxmlformats.org/officeDocument/2006/relationships/tags" Target="../tags/tag12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3.xml.rels><?xml version='1.0' encoding='UTF-8' standalone='yes'?>
<Relationships xmlns="http://schemas.openxmlformats.org/package/2006/relationships"><Relationship Id="rId1" Type="http://schemas.openxmlformats.org/officeDocument/2006/relationships/tags" Target="../tags/tag128.xml"/><Relationship Id="rId2" Type="http://schemas.openxmlformats.org/officeDocument/2006/relationships/tags" Target="../tags/tag129.xml"/><Relationship Id="rId3" Type="http://schemas.openxmlformats.org/officeDocument/2006/relationships/tags" Target="../tags/tag13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4.xml.rels><?xml version='1.0' encoding='UTF-8' standalone='yes'?>
<Relationships xmlns="http://schemas.openxmlformats.org/package/2006/relationships"><Relationship Id="rId1" Type="http://schemas.openxmlformats.org/officeDocument/2006/relationships/tags" Target="../tags/tag131.xml"/><Relationship Id="rId2" Type="http://schemas.openxmlformats.org/officeDocument/2006/relationships/tags" Target="../tags/tag132.xml"/><Relationship Id="rId3" Type="http://schemas.openxmlformats.org/officeDocument/2006/relationships/tags" Target="../tags/tag13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5.xml.rels><?xml version='1.0' encoding='UTF-8' standalone='yes'?>
<Relationships xmlns="http://schemas.openxmlformats.org/package/2006/relationships"><Relationship Id="rId1" Type="http://schemas.openxmlformats.org/officeDocument/2006/relationships/tags" Target="../tags/tag134.xml"/><Relationship Id="rId2" Type="http://schemas.openxmlformats.org/officeDocument/2006/relationships/tags" Target="../tags/tag135.xml"/><Relationship Id="rId3" Type="http://schemas.openxmlformats.org/officeDocument/2006/relationships/tags" Target="../tags/tag13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6.xml.rels><?xml version='1.0' encoding='UTF-8' standalone='yes'?>
<Relationships xmlns="http://schemas.openxmlformats.org/package/2006/relationships"><Relationship Id="rId1" Type="http://schemas.openxmlformats.org/officeDocument/2006/relationships/tags" Target="../tags/tag137.xml"/><Relationship Id="rId2" Type="http://schemas.openxmlformats.org/officeDocument/2006/relationships/tags" Target="../tags/tag138.xml"/><Relationship Id="rId3" Type="http://schemas.openxmlformats.org/officeDocument/2006/relationships/tags" Target="../tags/tag13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7.xml.rels><?xml version='1.0' encoding='UTF-8' standalone='yes'?>
<Relationships xmlns="http://schemas.openxmlformats.org/package/2006/relationships"><Relationship Id="rId1" Type="http://schemas.openxmlformats.org/officeDocument/2006/relationships/tags" Target="../tags/tag140.xml"/><Relationship Id="rId2" Type="http://schemas.openxmlformats.org/officeDocument/2006/relationships/tags" Target="../tags/tag141.xml"/><Relationship Id="rId3" Type="http://schemas.openxmlformats.org/officeDocument/2006/relationships/tags" Target="../tags/tag14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8.xml.rels><?xml version='1.0' encoding='UTF-8' standalone='yes'?>
<Relationships xmlns="http://schemas.openxmlformats.org/package/2006/relationships"><Relationship Id="rId1" Type="http://schemas.openxmlformats.org/officeDocument/2006/relationships/tags" Target="../tags/tag143.xml"/><Relationship Id="rId2" Type="http://schemas.openxmlformats.org/officeDocument/2006/relationships/tags" Target="../tags/tag144.xml"/><Relationship Id="rId3" Type="http://schemas.openxmlformats.org/officeDocument/2006/relationships/tags" Target="../tags/tag14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49.xml.rels><?xml version='1.0' encoding='UTF-8' standalone='yes'?>
<Relationships xmlns="http://schemas.openxmlformats.org/package/2006/relationships"><Relationship Id="rId1" Type="http://schemas.openxmlformats.org/officeDocument/2006/relationships/tags" Target="../tags/tag146.xml"/><Relationship Id="rId2" Type="http://schemas.openxmlformats.org/officeDocument/2006/relationships/tags" Target="../tags/tag147.xml"/><Relationship Id="rId3" Type="http://schemas.openxmlformats.org/officeDocument/2006/relationships/tags" Target="../tags/tag14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tags" Target="../tags/tag15.xml"/><Relationship Id="rId3" Type="http://schemas.openxmlformats.org/officeDocument/2006/relationships/tags" Target="../tags/tag1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0.xml.rels><?xml version='1.0' encoding='UTF-8' standalone='yes'?>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tags" Target="../tags/tag150.xml"/><Relationship Id="rId3" Type="http://schemas.openxmlformats.org/officeDocument/2006/relationships/tags" Target="../tags/tag15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1.xml.rels><?xml version='1.0' encoding='UTF-8' standalone='yes'?>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tags" Target="../tags/tag153.xml"/><Relationship Id="rId3" Type="http://schemas.openxmlformats.org/officeDocument/2006/relationships/tags" Target="../tags/tag15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2.xml.rels><?xml version='1.0' encoding='UTF-8' standalone='yes'?>
<Relationships xmlns="http://schemas.openxmlformats.org/package/2006/relationships"><Relationship Id="rId1" Type="http://schemas.openxmlformats.org/officeDocument/2006/relationships/tags" Target="../tags/tag155.xml"/><Relationship Id="rId2" Type="http://schemas.openxmlformats.org/officeDocument/2006/relationships/tags" Target="../tags/tag156.xml"/><Relationship Id="rId3" Type="http://schemas.openxmlformats.org/officeDocument/2006/relationships/tags" Target="../tags/tag15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3.xml.rels><?xml version='1.0' encoding='UTF-8' standalone='yes'?>
<Relationships xmlns="http://schemas.openxmlformats.org/package/2006/relationships"><Relationship Id="rId1" Type="http://schemas.openxmlformats.org/officeDocument/2006/relationships/tags" Target="../tags/tag158.xml"/><Relationship Id="rId2" Type="http://schemas.openxmlformats.org/officeDocument/2006/relationships/tags" Target="../tags/tag159.xml"/><Relationship Id="rId3" Type="http://schemas.openxmlformats.org/officeDocument/2006/relationships/tags" Target="../tags/tag16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4.xml.rels><?xml version='1.0' encoding='UTF-8' standalone='yes'?>
<Relationships xmlns="http://schemas.openxmlformats.org/package/2006/relationships"><Relationship Id="rId1" Type="http://schemas.openxmlformats.org/officeDocument/2006/relationships/tags" Target="../tags/tag161.xml"/><Relationship Id="rId2" Type="http://schemas.openxmlformats.org/officeDocument/2006/relationships/tags" Target="../tags/tag162.xml"/><Relationship Id="rId3" Type="http://schemas.openxmlformats.org/officeDocument/2006/relationships/tags" Target="../tags/tag16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5.xml.rels><?xml version='1.0' encoding='UTF-8' standalone='yes'?>
<Relationships xmlns="http://schemas.openxmlformats.org/package/2006/relationships"><Relationship Id="rId1" Type="http://schemas.openxmlformats.org/officeDocument/2006/relationships/tags" Target="../tags/tag164.xml"/><Relationship Id="rId2" Type="http://schemas.openxmlformats.org/officeDocument/2006/relationships/tags" Target="../tags/tag165.xml"/><Relationship Id="rId3" Type="http://schemas.openxmlformats.org/officeDocument/2006/relationships/tags" Target="../tags/tag16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6.xml.rels><?xml version='1.0' encoding='UTF-8' standalone='yes'?>
<Relationships xmlns="http://schemas.openxmlformats.org/package/2006/relationships"><Relationship Id="rId1" Type="http://schemas.openxmlformats.org/officeDocument/2006/relationships/tags" Target="../tags/tag167.xml"/><Relationship Id="rId2" Type="http://schemas.openxmlformats.org/officeDocument/2006/relationships/tags" Target="../tags/tag168.xml"/><Relationship Id="rId3" Type="http://schemas.openxmlformats.org/officeDocument/2006/relationships/tags" Target="../tags/tag16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7.xml.rels><?xml version='1.0' encoding='UTF-8' standalone='yes'?>
<Relationships xmlns="http://schemas.openxmlformats.org/package/2006/relationships"><Relationship Id="rId1" Type="http://schemas.openxmlformats.org/officeDocument/2006/relationships/tags" Target="../tags/tag170.xml"/><Relationship Id="rId2" Type="http://schemas.openxmlformats.org/officeDocument/2006/relationships/tags" Target="../tags/tag171.xml"/><Relationship Id="rId3" Type="http://schemas.openxmlformats.org/officeDocument/2006/relationships/tags" Target="../tags/tag17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8.xml.rels><?xml version='1.0' encoding='UTF-8' standalone='yes'?>
<Relationships xmlns="http://schemas.openxmlformats.org/package/2006/relationships"><Relationship Id="rId1" Type="http://schemas.openxmlformats.org/officeDocument/2006/relationships/tags" Target="../tags/tag173.xml"/><Relationship Id="rId2" Type="http://schemas.openxmlformats.org/officeDocument/2006/relationships/tags" Target="../tags/tag174.xml"/><Relationship Id="rId3" Type="http://schemas.openxmlformats.org/officeDocument/2006/relationships/tags" Target="../tags/tag17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59.xml.rels><?xml version='1.0' encoding='UTF-8' standalone='yes'?>
<Relationships xmlns="http://schemas.openxmlformats.org/package/2006/relationships"><Relationship Id="rId1" Type="http://schemas.openxmlformats.org/officeDocument/2006/relationships/tags" Target="../tags/tag176.xml"/><Relationship Id="rId2" Type="http://schemas.openxmlformats.org/officeDocument/2006/relationships/tags" Target="../tags/tag177.xml"/><Relationship Id="rId3" Type="http://schemas.openxmlformats.org/officeDocument/2006/relationships/tags" Target="../tags/tag17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0.xml.rels><?xml version='1.0' encoding='UTF-8' standalone='yes'?>
<Relationships xmlns="http://schemas.openxmlformats.org/package/2006/relationships"><Relationship Id="rId1" Type="http://schemas.openxmlformats.org/officeDocument/2006/relationships/tags" Target="../tags/tag179.xml"/><Relationship Id="rId2" Type="http://schemas.openxmlformats.org/officeDocument/2006/relationships/tags" Target="../tags/tag180.xml"/><Relationship Id="rId3" Type="http://schemas.openxmlformats.org/officeDocument/2006/relationships/tags" Target="../tags/tag18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1.xml.rels><?xml version='1.0' encoding='UTF-8' standalone='yes'?>
<Relationships xmlns="http://schemas.openxmlformats.org/package/2006/relationships"><Relationship Id="rId1" Type="http://schemas.openxmlformats.org/officeDocument/2006/relationships/tags" Target="../tags/tag182.xml"/><Relationship Id="rId2" Type="http://schemas.openxmlformats.org/officeDocument/2006/relationships/tags" Target="../tags/tag183.xml"/><Relationship Id="rId3" Type="http://schemas.openxmlformats.org/officeDocument/2006/relationships/tags" Target="../tags/tag18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2.xml.rels><?xml version='1.0' encoding='UTF-8' standalone='yes'?>
<Relationships xmlns="http://schemas.openxmlformats.org/package/2006/relationships"><Relationship Id="rId1" Type="http://schemas.openxmlformats.org/officeDocument/2006/relationships/tags" Target="../tags/tag185.xml"/><Relationship Id="rId2" Type="http://schemas.openxmlformats.org/officeDocument/2006/relationships/tags" Target="../tags/tag186.xml"/><Relationship Id="rId3" Type="http://schemas.openxmlformats.org/officeDocument/2006/relationships/tags" Target="../tags/tag18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3.xml.rels><?xml version='1.0' encoding='UTF-8' standalone='yes'?>
<Relationships xmlns="http://schemas.openxmlformats.org/package/2006/relationships"><Relationship Id="rId1" Type="http://schemas.openxmlformats.org/officeDocument/2006/relationships/tags" Target="../tags/tag188.xml"/><Relationship Id="rId2" Type="http://schemas.openxmlformats.org/officeDocument/2006/relationships/tags" Target="../tags/tag189.xml"/><Relationship Id="rId3" Type="http://schemas.openxmlformats.org/officeDocument/2006/relationships/tags" Target="../tags/tag19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4.xml.rels><?xml version='1.0' encoding='UTF-8' standalone='yes'?>
<Relationships xmlns="http://schemas.openxmlformats.org/package/2006/relationships"><Relationship Id="rId1" Type="http://schemas.openxmlformats.org/officeDocument/2006/relationships/tags" Target="../tags/tag191.xml"/><Relationship Id="rId2" Type="http://schemas.openxmlformats.org/officeDocument/2006/relationships/tags" Target="../tags/tag192.xml"/><Relationship Id="rId3" Type="http://schemas.openxmlformats.org/officeDocument/2006/relationships/tags" Target="../tags/tag19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5.xml.rels><?xml version='1.0' encoding='UTF-8' standalone='yes'?>
<Relationships xmlns="http://schemas.openxmlformats.org/package/2006/relationships"><Relationship Id="rId1" Type="http://schemas.openxmlformats.org/officeDocument/2006/relationships/tags" Target="../tags/tag194.xml"/><Relationship Id="rId2" Type="http://schemas.openxmlformats.org/officeDocument/2006/relationships/tags" Target="../tags/tag195.xml"/><Relationship Id="rId3" Type="http://schemas.openxmlformats.org/officeDocument/2006/relationships/tags" Target="../tags/tag19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6.xml.rels><?xml version='1.0' encoding='UTF-8' standalone='yes'?>
<Relationships xmlns="http://schemas.openxmlformats.org/package/2006/relationships"><Relationship Id="rId1" Type="http://schemas.openxmlformats.org/officeDocument/2006/relationships/tags" Target="../tags/tag197.xml"/><Relationship Id="rId2" Type="http://schemas.openxmlformats.org/officeDocument/2006/relationships/tags" Target="../tags/tag198.xml"/><Relationship Id="rId3" Type="http://schemas.openxmlformats.org/officeDocument/2006/relationships/tags" Target="../tags/tag19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7.xml.rels><?xml version='1.0' encoding='UTF-8' standalone='yes'?>
<Relationships xmlns="http://schemas.openxmlformats.org/package/2006/relationships"><Relationship Id="rId1" Type="http://schemas.openxmlformats.org/officeDocument/2006/relationships/tags" Target="../tags/tag200.xml"/><Relationship Id="rId2" Type="http://schemas.openxmlformats.org/officeDocument/2006/relationships/tags" Target="../tags/tag201.xml"/><Relationship Id="rId3" Type="http://schemas.openxmlformats.org/officeDocument/2006/relationships/tags" Target="../tags/tag20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8.xml.rels><?xml version='1.0' encoding='UTF-8' standalone='yes'?>
<Relationships xmlns="http://schemas.openxmlformats.org/package/2006/relationships"><Relationship Id="rId1" Type="http://schemas.openxmlformats.org/officeDocument/2006/relationships/tags" Target="../tags/tag203.xml"/><Relationship Id="rId2" Type="http://schemas.openxmlformats.org/officeDocument/2006/relationships/tags" Target="../tags/tag204.xml"/><Relationship Id="rId3" Type="http://schemas.openxmlformats.org/officeDocument/2006/relationships/tags" Target="../tags/tag20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69.xml.rels><?xml version='1.0' encoding='UTF-8' standalone='yes'?>
<Relationships xmlns="http://schemas.openxmlformats.org/package/2006/relationships"><Relationship Id="rId1" Type="http://schemas.openxmlformats.org/officeDocument/2006/relationships/tags" Target="../tags/tag206.xml"/><Relationship Id="rId2" Type="http://schemas.openxmlformats.org/officeDocument/2006/relationships/tags" Target="../tags/tag207.xml"/><Relationship Id="rId3" Type="http://schemas.openxmlformats.org/officeDocument/2006/relationships/tags" Target="../tags/tag20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0.xml.rels><?xml version='1.0' encoding='UTF-8' standalone='yes'?>
<Relationships xmlns="http://schemas.openxmlformats.org/package/2006/relationships"><Relationship Id="rId1" Type="http://schemas.openxmlformats.org/officeDocument/2006/relationships/tags" Target="../tags/tag209.xml"/><Relationship Id="rId2" Type="http://schemas.openxmlformats.org/officeDocument/2006/relationships/tags" Target="../tags/tag210.xml"/><Relationship Id="rId3" Type="http://schemas.openxmlformats.org/officeDocument/2006/relationships/tags" Target="../tags/tag21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1.xml.rels><?xml version='1.0' encoding='UTF-8' standalone='yes'?>
<Relationships xmlns="http://schemas.openxmlformats.org/package/2006/relationships"><Relationship Id="rId1" Type="http://schemas.openxmlformats.org/officeDocument/2006/relationships/tags" Target="../tags/tag212.xml"/><Relationship Id="rId2" Type="http://schemas.openxmlformats.org/officeDocument/2006/relationships/tags" Target="../tags/tag213.xml"/><Relationship Id="rId3" Type="http://schemas.openxmlformats.org/officeDocument/2006/relationships/tags" Target="../tags/tag21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2.xml.rels><?xml version='1.0' encoding='UTF-8' standalone='yes'?>
<Relationships xmlns="http://schemas.openxmlformats.org/package/2006/relationships"><Relationship Id="rId1" Type="http://schemas.openxmlformats.org/officeDocument/2006/relationships/tags" Target="../tags/tag215.xml"/><Relationship Id="rId2" Type="http://schemas.openxmlformats.org/officeDocument/2006/relationships/tags" Target="../tags/tag216.xml"/><Relationship Id="rId3" Type="http://schemas.openxmlformats.org/officeDocument/2006/relationships/tags" Target="../tags/tag21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3.xml.rels><?xml version='1.0' encoding='UTF-8' standalone='yes'?>
<Relationships xmlns="http://schemas.openxmlformats.org/package/2006/relationships"><Relationship Id="rId1" Type="http://schemas.openxmlformats.org/officeDocument/2006/relationships/tags" Target="../tags/tag218.xml"/><Relationship Id="rId2" Type="http://schemas.openxmlformats.org/officeDocument/2006/relationships/tags" Target="../tags/tag219.xml"/><Relationship Id="rId3" Type="http://schemas.openxmlformats.org/officeDocument/2006/relationships/tags" Target="../tags/tag22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4.xml.rels><?xml version='1.0' encoding='UTF-8' standalone='yes'?>
<Relationships xmlns="http://schemas.openxmlformats.org/package/2006/relationships"><Relationship Id="rId1" Type="http://schemas.openxmlformats.org/officeDocument/2006/relationships/tags" Target="../tags/tag221.xml"/><Relationship Id="rId2" Type="http://schemas.openxmlformats.org/officeDocument/2006/relationships/tags" Target="../tags/tag222.xml"/><Relationship Id="rId3" Type="http://schemas.openxmlformats.org/officeDocument/2006/relationships/tags" Target="../tags/tag22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5.xml.rels><?xml version='1.0' encoding='UTF-8' standalone='yes'?>
<Relationships xmlns="http://schemas.openxmlformats.org/package/2006/relationships"><Relationship Id="rId1" Type="http://schemas.openxmlformats.org/officeDocument/2006/relationships/tags" Target="../tags/tag224.xml"/><Relationship Id="rId2" Type="http://schemas.openxmlformats.org/officeDocument/2006/relationships/tags" Target="../tags/tag225.xml"/><Relationship Id="rId3" Type="http://schemas.openxmlformats.org/officeDocument/2006/relationships/tags" Target="../tags/tag22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6.xml.rels><?xml version='1.0' encoding='UTF-8' standalone='yes'?>
<Relationships xmlns="http://schemas.openxmlformats.org/package/2006/relationships"><Relationship Id="rId1" Type="http://schemas.openxmlformats.org/officeDocument/2006/relationships/tags" Target="../tags/tag227.xml"/><Relationship Id="rId2" Type="http://schemas.openxmlformats.org/officeDocument/2006/relationships/tags" Target="../tags/tag228.xml"/><Relationship Id="rId3" Type="http://schemas.openxmlformats.org/officeDocument/2006/relationships/tags" Target="../tags/tag22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7.xml.rels><?xml version='1.0' encoding='UTF-8' standalone='yes'?>
<Relationships xmlns="http://schemas.openxmlformats.org/package/2006/relationships"><Relationship Id="rId1" Type="http://schemas.openxmlformats.org/officeDocument/2006/relationships/tags" Target="../tags/tag230.xml"/><Relationship Id="rId2" Type="http://schemas.openxmlformats.org/officeDocument/2006/relationships/tags" Target="../tags/tag231.xml"/><Relationship Id="rId3" Type="http://schemas.openxmlformats.org/officeDocument/2006/relationships/tags" Target="../tags/tag23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8.xml.rels><?xml version='1.0' encoding='UTF-8' standalone='yes'?>
<Relationships xmlns="http://schemas.openxmlformats.org/package/2006/relationships"><Relationship Id="rId1" Type="http://schemas.openxmlformats.org/officeDocument/2006/relationships/tags" Target="../tags/tag233.xml"/><Relationship Id="rId2" Type="http://schemas.openxmlformats.org/officeDocument/2006/relationships/tags" Target="../tags/tag234.xml"/><Relationship Id="rId3" Type="http://schemas.openxmlformats.org/officeDocument/2006/relationships/tags" Target="../tags/tag23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79.xml.rels><?xml version='1.0' encoding='UTF-8' standalone='yes'?>
<Relationships xmlns="http://schemas.openxmlformats.org/package/2006/relationships"><Relationship Id="rId1" Type="http://schemas.openxmlformats.org/officeDocument/2006/relationships/tags" Target="../tags/tag236.xml"/><Relationship Id="rId2" Type="http://schemas.openxmlformats.org/officeDocument/2006/relationships/tags" Target="../tags/tag237.xml"/><Relationship Id="rId3" Type="http://schemas.openxmlformats.org/officeDocument/2006/relationships/tags" Target="../tags/tag23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tags" Target="../tags/tag24.xml"/><Relationship Id="rId3" Type="http://schemas.openxmlformats.org/officeDocument/2006/relationships/tags" Target="../tags/tag2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0.xml.rels><?xml version='1.0' encoding='UTF-8' standalone='yes'?>
<Relationships xmlns="http://schemas.openxmlformats.org/package/2006/relationships"><Relationship Id="rId1" Type="http://schemas.openxmlformats.org/officeDocument/2006/relationships/tags" Target="../tags/tag239.xml"/><Relationship Id="rId2" Type="http://schemas.openxmlformats.org/officeDocument/2006/relationships/tags" Target="../tags/tag240.xml"/><Relationship Id="rId3" Type="http://schemas.openxmlformats.org/officeDocument/2006/relationships/tags" Target="../tags/tag24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1.xml.rels><?xml version='1.0' encoding='UTF-8' standalone='yes'?>
<Relationships xmlns="http://schemas.openxmlformats.org/package/2006/relationships"><Relationship Id="rId1" Type="http://schemas.openxmlformats.org/officeDocument/2006/relationships/tags" Target="../tags/tag242.xml"/><Relationship Id="rId2" Type="http://schemas.openxmlformats.org/officeDocument/2006/relationships/tags" Target="../tags/tag243.xml"/><Relationship Id="rId3" Type="http://schemas.openxmlformats.org/officeDocument/2006/relationships/tags" Target="../tags/tag24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2.xml.rels><?xml version='1.0' encoding='UTF-8' standalone='yes'?>
<Relationships xmlns="http://schemas.openxmlformats.org/package/2006/relationships"><Relationship Id="rId1" Type="http://schemas.openxmlformats.org/officeDocument/2006/relationships/tags" Target="../tags/tag245.xml"/><Relationship Id="rId2" Type="http://schemas.openxmlformats.org/officeDocument/2006/relationships/tags" Target="../tags/tag246.xml"/><Relationship Id="rId3" Type="http://schemas.openxmlformats.org/officeDocument/2006/relationships/tags" Target="../tags/tag24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3.xml.rels><?xml version='1.0' encoding='UTF-8' standalone='yes'?>
<Relationships xmlns="http://schemas.openxmlformats.org/package/2006/relationships"><Relationship Id="rId1" Type="http://schemas.openxmlformats.org/officeDocument/2006/relationships/tags" Target="../tags/tag248.xml"/><Relationship Id="rId2" Type="http://schemas.openxmlformats.org/officeDocument/2006/relationships/tags" Target="../tags/tag249.xml"/><Relationship Id="rId3" Type="http://schemas.openxmlformats.org/officeDocument/2006/relationships/tags" Target="../tags/tag25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4.xml.rels><?xml version='1.0' encoding='UTF-8' standalone='yes'?>
<Relationships xmlns="http://schemas.openxmlformats.org/package/2006/relationships"><Relationship Id="rId1" Type="http://schemas.openxmlformats.org/officeDocument/2006/relationships/tags" Target="../tags/tag251.xml"/><Relationship Id="rId2" Type="http://schemas.openxmlformats.org/officeDocument/2006/relationships/tags" Target="../tags/tag252.xml"/><Relationship Id="rId3" Type="http://schemas.openxmlformats.org/officeDocument/2006/relationships/tags" Target="../tags/tag25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5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tags" Target="../tags/tag255.xml"/><Relationship Id="rId3" Type="http://schemas.openxmlformats.org/officeDocument/2006/relationships/tags" Target="../tags/tag25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6.xml.rels><?xml version='1.0' encoding='UTF-8' standalone='yes'?>
<Relationships xmlns="http://schemas.openxmlformats.org/package/2006/relationships"><Relationship Id="rId1" Type="http://schemas.openxmlformats.org/officeDocument/2006/relationships/tags" Target="../tags/tag257.xml"/><Relationship Id="rId2" Type="http://schemas.openxmlformats.org/officeDocument/2006/relationships/tags" Target="../tags/tag258.xml"/><Relationship Id="rId3" Type="http://schemas.openxmlformats.org/officeDocument/2006/relationships/tags" Target="../tags/tag25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7.xml.rels><?xml version='1.0' encoding='UTF-8' standalone='yes'?>
<Relationships xmlns="http://schemas.openxmlformats.org/package/2006/relationships"><Relationship Id="rId1" Type="http://schemas.openxmlformats.org/officeDocument/2006/relationships/tags" Target="../tags/tag260.xml"/><Relationship Id="rId2" Type="http://schemas.openxmlformats.org/officeDocument/2006/relationships/tags" Target="../tags/tag261.xml"/><Relationship Id="rId3" Type="http://schemas.openxmlformats.org/officeDocument/2006/relationships/tags" Target="../tags/tag26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8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tags" Target="../tags/tag264.xml"/><Relationship Id="rId3" Type="http://schemas.openxmlformats.org/officeDocument/2006/relationships/tags" Target="../tags/tag26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89.xml.rels><?xml version='1.0' encoding='UTF-8' standalone='yes'?>
<Relationships xmlns="http://schemas.openxmlformats.org/package/2006/relationships"><Relationship Id="rId1" Type="http://schemas.openxmlformats.org/officeDocument/2006/relationships/tags" Target="../tags/tag266.xml"/><Relationship Id="rId2" Type="http://schemas.openxmlformats.org/officeDocument/2006/relationships/tags" Target="../tags/tag267.xml"/><Relationship Id="rId3" Type="http://schemas.openxmlformats.org/officeDocument/2006/relationships/tags" Target="../tags/tag26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tags" Target="../tags/tag27.xml"/><Relationship Id="rId3" Type="http://schemas.openxmlformats.org/officeDocument/2006/relationships/tags" Target="../tags/tag2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0.xml.rels><?xml version='1.0' encoding='UTF-8' standalone='yes'?>
<Relationships xmlns="http://schemas.openxmlformats.org/package/2006/relationships"><Relationship Id="rId1" Type="http://schemas.openxmlformats.org/officeDocument/2006/relationships/tags" Target="../tags/tag269.xml"/><Relationship Id="rId2" Type="http://schemas.openxmlformats.org/officeDocument/2006/relationships/tags" Target="../tags/tag270.xml"/><Relationship Id="rId3" Type="http://schemas.openxmlformats.org/officeDocument/2006/relationships/tags" Target="../tags/tag27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1.xml.rels><?xml version='1.0' encoding='UTF-8' standalone='yes'?>
<Relationships xmlns="http://schemas.openxmlformats.org/package/2006/relationships"><Relationship Id="rId1" Type="http://schemas.openxmlformats.org/officeDocument/2006/relationships/tags" Target="../tags/tag272.xml"/><Relationship Id="rId2" Type="http://schemas.openxmlformats.org/officeDocument/2006/relationships/tags" Target="../tags/tag273.xml"/><Relationship Id="rId3" Type="http://schemas.openxmlformats.org/officeDocument/2006/relationships/tags" Target="../tags/tag274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2.xml.rels><?xml version='1.0' encoding='UTF-8' standalone='yes'?>
<Relationships xmlns="http://schemas.openxmlformats.org/package/2006/relationships"><Relationship Id="rId1" Type="http://schemas.openxmlformats.org/officeDocument/2006/relationships/tags" Target="../tags/tag275.xml"/><Relationship Id="rId2" Type="http://schemas.openxmlformats.org/officeDocument/2006/relationships/tags" Target="../tags/tag276.xml"/><Relationship Id="rId3" Type="http://schemas.openxmlformats.org/officeDocument/2006/relationships/tags" Target="../tags/tag27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3.xml.rels><?xml version='1.0' encoding='UTF-8' standalone='yes'?>
<Relationships xmlns="http://schemas.openxmlformats.org/package/2006/relationships"><Relationship Id="rId1" Type="http://schemas.openxmlformats.org/officeDocument/2006/relationships/tags" Target="../tags/tag278.xml"/><Relationship Id="rId2" Type="http://schemas.openxmlformats.org/officeDocument/2006/relationships/tags" Target="../tags/tag279.xml"/><Relationship Id="rId3" Type="http://schemas.openxmlformats.org/officeDocument/2006/relationships/tags" Target="../tags/tag280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4.xml.rels><?xml version='1.0' encoding='UTF-8' standalone='yes'?>
<Relationships xmlns="http://schemas.openxmlformats.org/package/2006/relationships"><Relationship Id="rId1" Type="http://schemas.openxmlformats.org/officeDocument/2006/relationships/tags" Target="../tags/tag281.xml"/><Relationship Id="rId2" Type="http://schemas.openxmlformats.org/officeDocument/2006/relationships/tags" Target="../tags/tag282.xml"/><Relationship Id="rId3" Type="http://schemas.openxmlformats.org/officeDocument/2006/relationships/tags" Target="../tags/tag28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5.xml.rels><?xml version='1.0' encoding='UTF-8' standalone='yes'?>
<Relationships xmlns="http://schemas.openxmlformats.org/package/2006/relationships"><Relationship Id="rId1" Type="http://schemas.openxmlformats.org/officeDocument/2006/relationships/tags" Target="../tags/tag284.xml"/><Relationship Id="rId2" Type="http://schemas.openxmlformats.org/officeDocument/2006/relationships/tags" Target="../tags/tag285.xml"/><Relationship Id="rId3" Type="http://schemas.openxmlformats.org/officeDocument/2006/relationships/tags" Target="../tags/tag286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6.xml.rels><?xml version='1.0' encoding='UTF-8' standalone='yes'?>
<Relationships xmlns="http://schemas.openxmlformats.org/package/2006/relationships"><Relationship Id="rId1" Type="http://schemas.openxmlformats.org/officeDocument/2006/relationships/tags" Target="../tags/tag287.xml"/><Relationship Id="rId2" Type="http://schemas.openxmlformats.org/officeDocument/2006/relationships/tags" Target="../tags/tag288.xml"/><Relationship Id="rId3" Type="http://schemas.openxmlformats.org/officeDocument/2006/relationships/tags" Target="../tags/tag289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7.xml.rels><?xml version='1.0' encoding='UTF-8' standalone='yes'?>
<Relationships xmlns="http://schemas.openxmlformats.org/package/2006/relationships"><Relationship Id="rId1" Type="http://schemas.openxmlformats.org/officeDocument/2006/relationships/tags" Target="../tags/tag290.xml"/><Relationship Id="rId2" Type="http://schemas.openxmlformats.org/officeDocument/2006/relationships/tags" Target="../tags/tag291.xml"/><Relationship Id="rId3" Type="http://schemas.openxmlformats.org/officeDocument/2006/relationships/tags" Target="../tags/tag292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8.xml.rels><?xml version='1.0' encoding='UTF-8' standalone='yes'?>
<Relationships xmlns="http://schemas.openxmlformats.org/package/2006/relationships"><Relationship Id="rId1" Type="http://schemas.openxmlformats.org/officeDocument/2006/relationships/tags" Target="../tags/tag293.xml"/><Relationship Id="rId2" Type="http://schemas.openxmlformats.org/officeDocument/2006/relationships/tags" Target="../tags/tag294.xml"/><Relationship Id="rId3" Type="http://schemas.openxmlformats.org/officeDocument/2006/relationships/tags" Target="../tags/tag295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_rels/slide99.xml.rels><?xml version='1.0' encoding='UTF-8' standalone='yes'?>
<Relationships xmlns="http://schemas.openxmlformats.org/package/2006/relationships"><Relationship Id="rId1" Type="http://schemas.openxmlformats.org/officeDocument/2006/relationships/tags" Target="../tags/tag296.xml"/><Relationship Id="rId2" Type="http://schemas.openxmlformats.org/officeDocument/2006/relationships/tags" Target="../tags/tag297.xml"/><Relationship Id="rId3" Type="http://schemas.openxmlformats.org/officeDocument/2006/relationships/tags" Target="../tags/tag298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6" Type="http://schemas.openxmlformats.org/officeDocument/2006/relationships/image" Target="../media/image7.emf"/><Relationship Id="rId7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610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4581FD10-AAF5-A2C3-9F26-2930C74816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xxxxxx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4DB66D-56C4-19F5-A95A-87F5613116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t> PI Data for: AMS, Revenue: &lt;$5B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5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uvoco Vistas Corporation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elspun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shio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way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ara Raja Batte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BS Transit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rvi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amud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BB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durance Technolog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562601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87585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3051533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1142140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1497435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892813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1972200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3903871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0209861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607405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0414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6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narmas Land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ta 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siri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scorts Kubot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and Farm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iden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M Human Services Internation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lsian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Adaro Minerals Indonesia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P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entral Pattana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Operating Compan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952246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82271947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382051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57065492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19398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93546740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9647370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955584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900717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2517575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61817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7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ta Steel Long Product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piceJe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T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elspun Cor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amLease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estige Estates Projec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TITA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ism Johns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haeffler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uksa Holding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2176474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6900124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4569163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001538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2436720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904998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34461835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86559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0453967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85802252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95438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8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aymond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lue Sta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TS Group Holdings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LF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therson Sumi Wiring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laysian Resources Corporation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laysia Airports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dram Fastene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uka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G Fleet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Sup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1127146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819553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90283104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0357560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1623848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13638659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7169692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5355241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44424115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2569927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762773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9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RA Global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EM Edgent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UD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Tinplate Company of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entury Textiles and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MR Power And Urban Infr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hindra Logistic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. Karnchang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9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rloskar Oil Engin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n-United Corporation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974817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1927579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606643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507117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299562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5541905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095404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3502466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006893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370574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126248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10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ia Aviation Public Compan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7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rloskar Ferrous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orce Moto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A Engineering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akshmi Machine Work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13502273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2444981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774320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290287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12282527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2007925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38086992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40563374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40958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0990621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86328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Sheet Glass Company,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ppel Corpo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79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XEO Group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MSYS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HK Spr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i E&amp;S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yal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ilipp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,6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msung Heavy Industrie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taba Industri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nd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1211264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226376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4375531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96894092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679274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293897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72613509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6978423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264821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5930274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83845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pp Group Holdings Co.,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kyu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do Stee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ngroup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0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jaj Auto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otorcyc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G Packaging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ackag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fuku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GK Insulators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bu Railwa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nlord Land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8602175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18360483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64533359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1908652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49494696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3303385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9622712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43032818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3547317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877064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0878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SKAWA Electric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maz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d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ndenko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nsh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GK Spark Plu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goya Railroad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hgo Security Service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ecurity and Alarm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ai Rik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Light Metal Holdings Company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lumin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5850144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8943751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8101426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35553129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373039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8674537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9753758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1559183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64161931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7953136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97634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Indah Kiat Pulp &amp; Paper Tb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0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me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ulic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Operating Compan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shinbo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ero MotoCor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otorcyc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RAIT ON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ewoo Shipbuilding &amp; Marine Engineer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4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wa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bishi Logisnext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uasa Trad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09234750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8819666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7312562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36051936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1283307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7044727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55803431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438586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47596641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3260107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38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70655"/>
              </p:ext>
            </p:ext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  <p:graphicFrame>
        <p:nvGraphicFramePr>
          <p:cNvPr id="22" name="Chart 21"/>
          <p:cNvGraphicFramePr>
            <a:graphicFrameLocks noGrp="1"/>
          </p:cNvGraphicFramePr>
          <p:nvPr/>
        </p:nvGraphicFramePr>
        <p:xfrm>
          <a:off x="1371600" y="914400"/>
          <a:ext cx="9144000" cy="4572000"/>
        </p:xfrm>
        <a:graphic>
          <a:graphicData uri="http://schemas.openxmlformats.org/drawingml/2006/chart">
            <c:chart xmlns:c="http://schemas.openxmlformats.org/drawingml/2006/chart" r:id="rId8"/>
          </a:graphicData>
        </a:graphic>
      </p:graphicFrame>
      <p:pic>
        <p:nvPicPr>
          <p:cNvPr id="23" name="Picture 22" descr="bottom axis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1600" y="5486400"/>
            <a:ext cx="9144000" cy="457200"/>
          </a:xfrm>
          <a:prstGeom prst="rect">
            <a:avLst/>
          </a:prstGeom>
        </p:spPr>
      </p:pic>
      <p:pic>
        <p:nvPicPr>
          <p:cNvPr id="24" name="Picture 23" descr="a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5800" y="1371600"/>
            <a:ext cx="457200" cy="4343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yo Tire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buja Cemen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enta-Ocean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mitomo Riko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pan Pulp and Paper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tachi Zos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infreigh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MW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mobi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MG Mor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ess Metal Aluminium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lumin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561317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1048130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20593112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9744643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638252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4859415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5394080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943615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67725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0033993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5596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S Yuasa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RB-HICOM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mobi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6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GC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ronado Global Resource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hi-Nippon Railroad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entia Services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umagai Gumi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hok Leyla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BS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oustead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0223704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18864291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5447826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0042677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778366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5518202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5912535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6265099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1278682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3759126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019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7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terGlobe Aviation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MDC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daram-Clayt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mitomo Mitsui Construction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ibu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ndustan Aeronautic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erospace and Defens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FRONEER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3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ri Trang Agro-Industry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8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YB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SC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6134527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5444592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75302811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1617355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7897107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9776108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0930857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0594230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5975799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4211538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42944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8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eopalace21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Operating Compan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tanley Electric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AH Steel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K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G Dongbu Steel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SUMI Group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i Airways International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yudenk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yo Special Stee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etnam Airlines JS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08554703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5930554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73124470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07621105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0700028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2037761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6146783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19062885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2158233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269953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5617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9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K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yosu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9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dakyu Electric Railwa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ng Leong Asia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S TECH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VS Motor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otorcyc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sona Group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mfortDelGro Corpo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ror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tal and Glass Contai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indal Stainles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9966174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3220874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1418662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15355761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712122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3189567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1374316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21838061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7757357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2006064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62593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0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yundai Construction Equipment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harat Heavy Electric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yosung Heavy Industrie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eon Delight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nvironmental and Facilities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EON Mal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Operating Compan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sangyong Motor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mobi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yushu Railway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ollo Tyr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asers Propert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himatsu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51593836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53890377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0233261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62965241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0164304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540401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59643338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23261674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5262548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2166760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75737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1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yo Tatemono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kyo Tateyama,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lcargo Logistic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nhomes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osco Chemic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zama And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ad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iyod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ail Vikas Nigam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RF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3699445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2561481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6140995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9464081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4547339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2589904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7528699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7297969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73167893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2575811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86415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2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yundai Rotem Compan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asago Thermal Engineer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noike Transport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an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shizak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yoei Steel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kuyama Transport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OL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aba Denki Sangyo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urita Water Industrie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9562828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02734979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5872659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2094793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3600350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9798557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9441378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57947244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6447563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57938608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20734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3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ba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ansurban Group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ighways and Railtra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Semen 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btesc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or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fco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ina Yuchai Internation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njin Transporta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ternational Container Terminal Service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ilipp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TSUDA SAN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nvironmental and Facilities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3664718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8267454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20599635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11181033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858732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6371668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78380791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52755369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8903640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1761671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8580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4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py Industries,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yo Steel Manufactur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ikyu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amatsu Construction Group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migum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kuetsu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XEDY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OTTE rental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00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chi Steel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ihan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9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3569823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3556444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9177393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3562951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6776329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211242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7157295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389483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8795518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3292345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0341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Current) - (1/2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ppel Corporation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7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yal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ilipp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,6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VS Motor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otorcyc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or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lpataru Power Transmiss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r New Zeala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mbcorp Marine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rab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4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ur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olta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88696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5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yu Construction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1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I-SOKO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idensh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urizon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ani Ports and Special Economic Zon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pre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yala Land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ilipp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a Sen Group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leanaway Waste Managemen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nvironmental and Facilities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or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8428523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9058006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706441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7929119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7624537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1380402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35158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6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harat Electronic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erospace and Defen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kumur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usashi Seimitsu Industr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emen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indal Stainles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ree Cemen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-1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ecurity and Alarm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nsol Paper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RK24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nvironmental and Facilities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-Tekt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097591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7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lpataru Power Transmission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to Shoj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ki Aluminium Industr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lumin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talian-Thai Development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pr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yobi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c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ma Hom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usco Nakayam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tional Aluminium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lumin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85462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8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lory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drej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urtec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chi-Fujikoshi Cor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Sumitomo Warehous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erjaya Corporation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ruichi Steel Tube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Seik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k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orest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vells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62155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19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bishi Logistics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noke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C Internation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Quess Cor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nMaywa Industries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tetsu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chia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subakimoto Chain Co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san Shata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mobi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998870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0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varga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isei Electric Railwa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Japan Steel Works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utaka Giken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indal Saw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ara Standard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nwha System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erospace and Defens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AI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S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ikisha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56585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1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L Apollo Tube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-Lex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notaR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Qube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flex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ackag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CHI-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entral Glas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moku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ackag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dano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xide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910771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2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do Steel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enec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yundai Electric &amp; Energy System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yo Engineeri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etJet Aviation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nkai Electric Railwa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odogawa Steel Works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ia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WCC Showa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rukawa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66032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3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RW Holding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KSH Holding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r New Zeala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p Seng Consolidated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tarts Corporation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P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tal and Glass Contai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olycab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ritz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san Industr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ki Engineer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94325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4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ube Investments of India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si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ahi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recious Metals and Miner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2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search and Consulting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-Tech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K Tyre &amp;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L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utchison Port Holdings Trus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MTC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tec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6792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Current) - (2/2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elhiver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arroc Engineering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MR Airports Infrastructur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eightways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427856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5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kino Milling Machine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osch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-Star Real Estate Co.,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mitomo Osaka Cement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pital 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9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gional Container Lines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unka Shutter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bishi Paper Mil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lmia Bhara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CC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382853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6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mbcorp Marine Lt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am City Cement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rab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4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AH Steel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Densetsu Ko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kum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UTEC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.C.C.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ndustan Construction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-One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181183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7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udenko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 Seal International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tal and Glass Contai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KKON Holding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orld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PI Polene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mitomo Densetsu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harat Forg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kayama Steel Works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yam Metalics and Energ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ELEX Group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9142458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8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cific Industrial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chiyo Industr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PR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uski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Sup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kkis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ancom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-Da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RARTH HOLDINGS,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FA Engineeri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icher Moto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otorcyc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71342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29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den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ecurity and Alarm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H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ess Ko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chnoPro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NT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T Group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elo Group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.R.S.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h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230758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0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CONIX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ardhman Textil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ct Group Holdings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tal and Glass Contai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namoto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seki &amp;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and Farm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ilip Buildc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yo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nadelphous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mato Ko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EA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600837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1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NIPPON ROAD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RUKA FURUSAT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ngapore Pos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ar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uvoco Vistas Corpo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elspun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Yakin Ko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shio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kk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euchi Mfg.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364891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2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ichi Jitsu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PP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00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crotech Develope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sai Ko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TZ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GC eTEC E&amp;C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bishi Steel Mfg.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Astra Otoparts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JTT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6472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3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buchi Motor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way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RC As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mabik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and Farm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ur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iw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bang Global Batter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KD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L D&amp;I Hall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ongbu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0667436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4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agle Industry Co.,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bri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CC GLAS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ara Raja Batte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LJIN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nsegae Engineering &amp; Construction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PCO Plant Service &amp; Engineering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Sup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shimoto Sogyo Holding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BS Transit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okogawa Bridge Holdings Cor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74452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Recent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nden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terGlobe Avi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AH Steel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ror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tal and Glass Contai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ani Ports and Special Economic Zon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harat Forg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ngapore Pos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yundai Bng Stee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&amp;T Technology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search and Consulting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rmax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140679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5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ruzen Showa Unyu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AON CABL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TAWATER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kebono Brake Industr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nami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 R Infraprojec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anum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um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rosaki Harim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26683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6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.RAD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o Mind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Z-COM MARUWA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pen Up Group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tto Kogy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lkrishna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urabo Industrie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sin Electric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ill Group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AIZNEXT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56027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7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kuda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chih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rvi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.K. Cemen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nacomin - Northern Coal Trading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ritake Co.,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orozu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amud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JM Corporation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6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M Prime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ilipp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Operating Compan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493559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8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olta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ihei Dengyo Kaisha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and and Houses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rvice Stream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makyorex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chikoh Industries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BB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hon Housing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S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CHID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464977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39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yundai Bng Steel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rya Roshni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 P Seti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ntainer Corporation of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essanc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ei Architecture Planning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BCC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palai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ndurance Technolog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chinen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418265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0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narmas Land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K Rent A Car Co.,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mudera Shipping Line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DC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ust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erospace and Defens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irla Corpo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Jasa Marg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ighways and Railtra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ta 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 Corpo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m Kim Steel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114901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1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siri Public Compan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rcon Internation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NSHIN Engineering &amp;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bishim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ipco Asphalt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MUR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search and Consulting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ok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5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yokuto Kaihatsu Kogyo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Koe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pan Transcity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133499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2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kyoNishikawa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nox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hresty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OSCO STEELE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oh Industri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scorts Kubot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and Farm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NC Infratech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trod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tika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ecos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1542776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3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in Irrigation System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gricultural and Farm Machine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ps Logistic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. Indo-Rama Synthetics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iprakash Associat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ljin Electric Co.,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a Road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rgan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iden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chi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M Human Services Internation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116280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4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illed &amp; Frozen Logistics Holdings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lsian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nagawa Refractorie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Adaro Minerals Indonesia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elhiver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tech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iren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P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.S. Mitsubishi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entral Pattana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Operating Compan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7740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1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jaj Auto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otorcycle Manufacture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GK Spark Plu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ero MotoCor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otorcyc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wa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buja Cemen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MW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mobi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ess Metal Aluminium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luminu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RB-HICOM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mobi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6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entia Services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hok Leyla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952170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5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T Group,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ilippin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,4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6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aito Ko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ta Steel Long Produc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uk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baura Machine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smos Initi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itec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nniho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n Nippon Air Technologie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no-Thai Engineering and Construction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431696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6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tetsu Kogyo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riental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mobi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urimoto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Adhi Kary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0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Y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piceJe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T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&amp;T Technology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search and Consulting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saka Stee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9154238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7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zlon Energ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ino Kaiun Kaisha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elspun Cor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do Met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kai Moving Service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wada Technologie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AH SPECIALSTEE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Kanza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nvironmental and Facilities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amLease Servi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oresen Thai Agencies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6399645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8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estige Estates Project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Zenitak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TITA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yo Denk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DC Hyundai Engineering Plastic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ism Johns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NT Motiv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nad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haeffler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ia Cement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904513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49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uksa Holding Public Compan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gshin Cement Co.,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abuki Kosan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ntokogio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ewon Kang Up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aymo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iho Ko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ia Paper Manufacturing.Co.,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ummins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uvi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949764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0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APICO Hitech Public Compan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rmax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nsol Logistic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subakimoto Ko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lue Sta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kan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SW Ispat Special Produc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kushima Galilei Co.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Ramco Cemen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Solusi Bangun Indonesia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3183564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1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ZERO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yaswal Neco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hoka Buildc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TS Group Holdings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Japan Wool Textil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rasaki San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nfonia Technology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chi Electric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Sharyo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ndo Chemical Industries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993934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2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arroc Engineering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yo Trad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opNex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ia Pile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sugam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hagi Construction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sukishima Kika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RB Infrastructure Develope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nshu Electric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ichi Koutsu Sangyo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47458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3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rickwork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aoka Tok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hsoku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ackag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zagon Dock Shipbuilde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erospace and Defens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7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I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S-CON JAPAN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LF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etroVietnam General Services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sash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uetsu Pulp &amp; Paper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28616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4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therson Sumi Wiring India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akachiku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G Power and Industrial Solution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laysian Resources Corporation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L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rth East Rubber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yodo Print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mmercial Print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MC Proje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sgec Heavy Engineering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mor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71126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2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daram-Clayton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SC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i Airways International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yosu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9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mfortDelGro Corpo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ollo Tyr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asers Propert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llcargo Logistic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nhomes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OL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440903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5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K Lakshmi Cement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laysia Airports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ondenk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hon Plast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dawari Power &amp; Ispa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kkan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tal and Glass Contai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uman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ECHNO ASSOCI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buy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ik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638361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6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Fajar Surya Wisesa Tb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ackag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masen Electric Industri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ikitokyu Ko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n Chong Motor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mobi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hikawa Rubber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lectrosteel Cast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ani Sang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e Kotsu Group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uocoLa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nn Joo Resource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952770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7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tto Boseki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tt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rita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mura Shipbuild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OSCO-Thainox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balanc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tsui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J Next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uo Spring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 Furukawa Engineering &amp; Construction Co.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565858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8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Pack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ackag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iko Construction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SHIN GROUP HOLDINGS Company,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iko Tran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xley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kun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ushu Tokai Paper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tar Micronic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Shipping Corporation of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osiers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64497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59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S Cable &amp; System Asia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akita &amp;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olyple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ackag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dram Fastene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ike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chirek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MT Steel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India Cemen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s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ani Sekisa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9076822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0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minoe Textile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osun Refractorie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TI Engineer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iamond Electric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me Darby Property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C Asset Corporation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biya Engineering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glacer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i Sangy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ohns Lyng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773438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1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boshi Belting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teccons Construction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slead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layan Cement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i Balaji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ukan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G Fleet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Sup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dick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ashima &amp;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x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2060266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2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RA Global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SD Engin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MR Airports Infrastructur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urakam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ulcan Stee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Denk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subaki Nakashim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a Binh Construction Group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yo Energy &amp; System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O-BOND Holding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5216452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3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koku Co.,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ion Industries Corporation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Shibusawa Warehous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MB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OI Properties Group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 Frontier Fudousa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encken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DEC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kab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A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Sup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204254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4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o Mai Group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d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lue Dart Expres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tr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EM Edgent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UD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ian Beng Group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sue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EM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bundance Internation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0646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3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ansurban Group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ighways and Railtrack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yu Constructi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urizon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ailroad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yala Land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hilipp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Real Estate Activit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emen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drej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vells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C Internation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S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L Apollo Tub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7510679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5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altec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9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ahi Kogyosh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E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nvironmental and Facilities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oginet Japa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Tinplate Company of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iji Electric Industrie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ng Leong Industrie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ivmec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ritsu Koki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Conglomerat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harashtra Seamles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8877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6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rata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NC Former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ood One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Forest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omina Steel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9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NAVO HOLDING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mebuild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ndotec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entury Textiles and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ia Green Energy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yo Tekk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eightways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5602771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7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ttoc Construction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MR Power And Urban Infr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hindra Logistic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ei Kank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nvironmental and Facilities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&amp;S Corpo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riental Consultants Holdings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do Rama Synthe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. Karnchang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9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ubu Steel Plat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rloskar Oil Engin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5041889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8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mil Nadu Newsprint and Paper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hon Yamamura Glas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tal and Glass Contai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h Sing Group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kyo Rope Mfg.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n-United Corporation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outhern Steel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PAC Realt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ms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versified Sup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T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 Freight and Logistic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meco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025994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69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llcon Steel Public Compan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Furukawa Batter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rda Energy &amp; Miner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do Tetr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da Engineering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7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on Thompso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nw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tachi Energy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K Pape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ko Gosei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947896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70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sei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ia Aviation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7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ilatex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extil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TD Cementation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yCurrent Consulting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search and Consulting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inolex Cabl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Electrical Componen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rloskar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.G. Infra Engineering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rloskar Ferrous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teel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chigo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Operating Compan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8452352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71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kkai Electrical Construction Company,Incorpora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idai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jaria Ceramic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uilding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t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KF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ime Technoplas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tal and Glass Contai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heels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tano Construction Cor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ihatsu Diesel Mfg.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eoplei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uman Resource and Employmen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343545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72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rmonic Drive Systems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A Engineering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amisaw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. Kumar Infraprojec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Hexindo Adiperkasa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sokawa Micro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gita Ace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APE Australia Corpo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8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est Coast Paper Mil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per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irports of Thailand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4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9816003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Whitespace) - (73/7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nagawa Chuo Kotsu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uckin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sewan Terminal Servic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orce Moto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chinery and Heavy Truc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A Engineering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akshmi Machine Work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ustrial Machiner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ventures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Real Estate Develo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nda Corporation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i Matsushima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pan Airport Termin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port Servi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hio Rent Al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rading Companies and Distributo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883088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91670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MS (All countries) Revenue: &lt;$5B  (Greyspace) - (4/10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Qube Holding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rine Ports and Servi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yundai Electric &amp; Energy System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eavy Electrical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osch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to Parts and Equipment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pital 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irlin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9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lmia Bhara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iam City Cement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Material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ndustan Construction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Construction and Engineering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icher Moto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otorcycle Manufactur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ct Group Holdings Lt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etal and Glass Contai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EAT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ires and Rubber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ctr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p>
                      <a:pPr algn="l">
                        <a:buNone/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ind left="0" hanging="0"/>
                      </a:p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265297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752203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96291004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8586099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68018018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80845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08968013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8815285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464689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3116185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3347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2</TotalTime>
  <Words>20066</Words>
  <Application>Microsoft Office PowerPoint</Application>
  <PresentationFormat>Widescreen</PresentationFormat>
  <Paragraphs>6082</Paragraphs>
  <Slides>30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5</vt:i4>
      </vt:variant>
    </vt:vector>
  </HeadingPairs>
  <TitlesOfParts>
    <vt:vector size="309" baseType="lpstr">
      <vt:lpstr>Arial</vt:lpstr>
      <vt:lpstr>Calibri</vt:lpstr>
      <vt:lpstr>Bain Core</vt:lpstr>
      <vt:lpstr>think-cell Slide</vt:lpstr>
      <vt:lpstr>xxxx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Balaji, Ashwin</cp:lastModifiedBy>
  <cp:revision>133</cp:revision>
  <cp:lastPrinted>2017-02-15T14:23:56Z</cp:lastPrinted>
  <dcterms:created xsi:type="dcterms:W3CDTF">2024-07-23T08:24:21Z</dcterms:created>
  <dcterms:modified xsi:type="dcterms:W3CDTF">2024-08-30T09:32:46Z</dcterms:modified>
</cp:coreProperties>
</file>